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959" r:id="rId5"/>
    <p:sldMasterId id="2147484040" r:id="rId6"/>
    <p:sldMasterId id="2147484023" r:id="rId7"/>
  </p:sldMasterIdLst>
  <p:notesMasterIdLst>
    <p:notesMasterId r:id="rId40"/>
  </p:notesMasterIdLst>
  <p:handoutMasterIdLst>
    <p:handoutMasterId r:id="rId41"/>
  </p:handoutMasterIdLst>
  <p:sldIdLst>
    <p:sldId id="2406" r:id="rId8"/>
    <p:sldId id="2408" r:id="rId9"/>
    <p:sldId id="2461" r:id="rId10"/>
    <p:sldId id="2422" r:id="rId11"/>
    <p:sldId id="2409" r:id="rId12"/>
    <p:sldId id="2460" r:id="rId13"/>
    <p:sldId id="2423" r:id="rId14"/>
    <p:sldId id="2424" r:id="rId15"/>
    <p:sldId id="2411" r:id="rId16"/>
    <p:sldId id="2428" r:id="rId17"/>
    <p:sldId id="348" r:id="rId18"/>
    <p:sldId id="2453" r:id="rId19"/>
    <p:sldId id="2454" r:id="rId20"/>
    <p:sldId id="2455" r:id="rId21"/>
    <p:sldId id="2456" r:id="rId22"/>
    <p:sldId id="2457" r:id="rId23"/>
    <p:sldId id="2458" r:id="rId24"/>
    <p:sldId id="2452" r:id="rId25"/>
    <p:sldId id="2459" r:id="rId26"/>
    <p:sldId id="2432" r:id="rId27"/>
    <p:sldId id="2433" r:id="rId28"/>
    <p:sldId id="2435" r:id="rId29"/>
    <p:sldId id="2430" r:id="rId30"/>
    <p:sldId id="2436" r:id="rId31"/>
    <p:sldId id="2445" r:id="rId32"/>
    <p:sldId id="2446" r:id="rId33"/>
    <p:sldId id="2447" r:id="rId34"/>
    <p:sldId id="2448" r:id="rId35"/>
    <p:sldId id="2449" r:id="rId36"/>
    <p:sldId id="2450" r:id="rId37"/>
    <p:sldId id="2451" r:id="rId38"/>
    <p:sldId id="2412" r:id="rId39"/>
  </p:sldIdLst>
  <p:sldSz cx="12192000" cy="6858000"/>
  <p:notesSz cx="6858000" cy="9144000"/>
  <p:embeddedFontLst>
    <p:embeddedFont>
      <p:font typeface="Fira Sans" panose="020B0503050000020004" pitchFamily="34" charset="0"/>
      <p:regular r:id="rId42"/>
      <p:bold r:id="rId43"/>
      <p:italic r:id="rId44"/>
      <p:boldItalic r:id="rId45"/>
    </p:embeddedFont>
    <p:embeddedFont>
      <p:font typeface="Fira Sans Medium" panose="020B0603050000020004" pitchFamily="34" charset="0"/>
      <p:regular r:id="rId46"/>
      <p:italic r:id="rId47"/>
    </p:embeddedFont>
    <p:embeddedFont>
      <p:font typeface="Trebuchet MS" panose="020B0603020202020204" pitchFamily="34" charset="0"/>
      <p:regular r:id="rId48"/>
      <p:bold r:id="rId49"/>
      <p:italic r:id="rId50"/>
      <p:boldItalic r:id="rId51"/>
    </p:embeddedFont>
  </p:embeddedFontLst>
  <p:custDataLst>
    <p:tags r:id="rId5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erzon, Carin" initials="GC" lastIdx="24" clrIdx="0">
    <p:extLst>
      <p:ext uri="{19B8F6BF-5375-455C-9EA6-DF929625EA0E}">
        <p15:presenceInfo xmlns:p15="http://schemas.microsoft.com/office/powerpoint/2012/main" userId="S-1-5-21-2573208799-187067640-1722879566-469061" providerId="AD"/>
      </p:ext>
    </p:extLst>
  </p:cmAuthor>
  <p:cmAuthor id="2" name="Kroon, Caroline" initials="KC" lastIdx="16" clrIdx="1">
    <p:extLst>
      <p:ext uri="{19B8F6BF-5375-455C-9EA6-DF929625EA0E}">
        <p15:presenceInfo xmlns:p15="http://schemas.microsoft.com/office/powerpoint/2012/main" userId="S-1-5-21-2573208799-187067640-1722879566-6143" providerId="AD"/>
      </p:ext>
    </p:extLst>
  </p:cmAuthor>
  <p:cmAuthor id="3" name="Brouns, Ellis" initials="BE" lastIdx="10" clrIdx="2">
    <p:extLst>
      <p:ext uri="{19B8F6BF-5375-455C-9EA6-DF929625EA0E}">
        <p15:presenceInfo xmlns:p15="http://schemas.microsoft.com/office/powerpoint/2012/main" userId="S-1-5-21-2573208799-187067640-1722879566-480915" providerId="AD"/>
      </p:ext>
    </p:extLst>
  </p:cmAuthor>
  <p:cmAuthor id="4" name="Koolhoven, Liza" initials="KL" lastIdx="112" clrIdx="3">
    <p:extLst>
      <p:ext uri="{19B8F6BF-5375-455C-9EA6-DF929625EA0E}">
        <p15:presenceInfo xmlns:p15="http://schemas.microsoft.com/office/powerpoint/2012/main" userId="S-1-5-21-2573208799-187067640-1722879566-500762" providerId="AD"/>
      </p:ext>
    </p:extLst>
  </p:cmAuthor>
  <p:cmAuthor id="5" name="Koolhoven, Liza" initials="KL [2]" lastIdx="20" clrIdx="4">
    <p:extLst>
      <p:ext uri="{19B8F6BF-5375-455C-9EA6-DF929625EA0E}">
        <p15:presenceInfo xmlns:p15="http://schemas.microsoft.com/office/powerpoint/2012/main" userId="S::liza.koolhoven@dsm.com::0320a5cc-c1c6-4685-b126-8a7fdd6a50e5" providerId="AD"/>
      </p:ext>
    </p:extLst>
  </p:cmAuthor>
  <p:cmAuthor id="6" name="Anne de Weerd" initials="AdW" lastIdx="1" clrIdx="5">
    <p:extLst>
      <p:ext uri="{19B8F6BF-5375-455C-9EA6-DF929625EA0E}">
        <p15:presenceInfo xmlns:p15="http://schemas.microsoft.com/office/powerpoint/2012/main" userId="59cbfca0dd96c1ec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FE3"/>
    <a:srgbClr val="0070BA"/>
    <a:srgbClr val="45AC34"/>
    <a:srgbClr val="007E4B"/>
    <a:srgbClr val="E51F22"/>
    <a:srgbClr val="F57922"/>
    <a:srgbClr val="521B65"/>
    <a:srgbClr val="BD0A79"/>
    <a:srgbClr val="D0DF00"/>
    <a:srgbClr val="A8AD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CFEEA6E-C328-4E33-99A2-3E3ED4F12BCD}" v="1" dt="2023-01-30T10:16:39.319"/>
  </p1510:revLst>
</p1510:revInfo>
</file>

<file path=ppt/tableStyles.xml><?xml version="1.0" encoding="utf-8"?>
<a:tblStyleLst xmlns:a="http://schemas.openxmlformats.org/drawingml/2006/main" def="{5C22544A-7EE6-4342-B048-85BDC9FD1C3A}"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86" autoAdjust="0"/>
    <p:restoredTop sz="94660"/>
  </p:normalViewPr>
  <p:slideViewPr>
    <p:cSldViewPr snapToGrid="0">
      <p:cViewPr varScale="1">
        <p:scale>
          <a:sx n="84" d="100"/>
          <a:sy n="84" d="100"/>
        </p:scale>
        <p:origin x="240" y="45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font" Target="fonts/font1.fntdata"/><Relationship Id="rId47" Type="http://schemas.openxmlformats.org/officeDocument/2006/relationships/font" Target="fonts/font6.fntdata"/><Relationship Id="rId50" Type="http://schemas.openxmlformats.org/officeDocument/2006/relationships/font" Target="fonts/font9.fntdata"/><Relationship Id="rId55" Type="http://schemas.openxmlformats.org/officeDocument/2006/relationships/viewProps" Target="viewProps.xml"/><Relationship Id="rId7" Type="http://schemas.openxmlformats.org/officeDocument/2006/relationships/slideMaster" Target="slideMasters/slideMaster3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notesMaster" Target="notesMasters/notesMaster1.xml"/><Relationship Id="rId45" Type="http://schemas.openxmlformats.org/officeDocument/2006/relationships/font" Target="fonts/font4.fntdata"/><Relationship Id="rId53" Type="http://schemas.openxmlformats.org/officeDocument/2006/relationships/commentAuthors" Target="commentAuthors.xml"/><Relationship Id="rId58" Type="http://schemas.microsoft.com/office/2015/10/relationships/revisionInfo" Target="revisionInfo.xml"/><Relationship Id="rId5" Type="http://schemas.openxmlformats.org/officeDocument/2006/relationships/slideMaster" Target="slideMasters/slideMaster1.xml"/><Relationship Id="rId19" Type="http://schemas.openxmlformats.org/officeDocument/2006/relationships/slide" Target="slides/slide12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font" Target="fonts/font2.fntdata"/><Relationship Id="rId48" Type="http://schemas.openxmlformats.org/officeDocument/2006/relationships/font" Target="fonts/font7.fntdata"/><Relationship Id="rId56" Type="http://schemas.openxmlformats.org/officeDocument/2006/relationships/theme" Target="theme/theme1.xml"/><Relationship Id="rId8" Type="http://schemas.openxmlformats.org/officeDocument/2006/relationships/slide" Target="slides/slide1.xml"/><Relationship Id="rId51" Type="http://schemas.openxmlformats.org/officeDocument/2006/relationships/font" Target="fonts/font10.fntdata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font" Target="fonts/font5.fntdata"/><Relationship Id="rId20" Type="http://schemas.openxmlformats.org/officeDocument/2006/relationships/slide" Target="slides/slide13.xml"/><Relationship Id="rId41" Type="http://schemas.openxmlformats.org/officeDocument/2006/relationships/handoutMaster" Target="handoutMasters/handoutMaster1.xml"/><Relationship Id="rId54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font" Target="fonts/font8.fntdata"/><Relationship Id="rId57" Type="http://schemas.openxmlformats.org/officeDocument/2006/relationships/tableStyles" Target="tableStyles.xml"/><Relationship Id="rId10" Type="http://schemas.openxmlformats.org/officeDocument/2006/relationships/slide" Target="slides/slide3.xml"/><Relationship Id="rId31" Type="http://schemas.openxmlformats.org/officeDocument/2006/relationships/slide" Target="slides/slide24.xml"/><Relationship Id="rId44" Type="http://schemas.openxmlformats.org/officeDocument/2006/relationships/font" Target="fonts/font3.fntdata"/><Relationship Id="rId52" Type="http://schemas.openxmlformats.org/officeDocument/2006/relationships/tags" Target="tags/tag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36219F5-4E3A-4ED5-AD34-F4D77A918CD9}" type="doc">
      <dgm:prSet loTypeId="urn:microsoft.com/office/officeart/2005/8/layout/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NL"/>
        </a:p>
      </dgm:t>
    </dgm:pt>
    <dgm:pt modelId="{7B55F80F-D03A-49C5-A8D7-9481494C9CF6}">
      <dgm:prSet phldrT="[Text]"/>
      <dgm:spPr/>
      <dgm:t>
        <a:bodyPr/>
        <a:lstStyle/>
        <a:p>
          <a:r>
            <a:rPr lang="en-US" dirty="0"/>
            <a:t>1. Understand  reasons</a:t>
          </a:r>
          <a:endParaRPr lang="nl-NL" dirty="0"/>
        </a:p>
      </dgm:t>
    </dgm:pt>
    <dgm:pt modelId="{04001282-0E58-4D4B-8FB3-5411F5627801}" type="parTrans" cxnId="{613AFA6C-E96C-4568-8EE2-8D8FEA7176EC}">
      <dgm:prSet/>
      <dgm:spPr/>
      <dgm:t>
        <a:bodyPr/>
        <a:lstStyle/>
        <a:p>
          <a:endParaRPr lang="nl-NL"/>
        </a:p>
      </dgm:t>
    </dgm:pt>
    <dgm:pt modelId="{6432C0F6-DD8A-4E26-8887-73B4B3F1D5F4}" type="sibTrans" cxnId="{613AFA6C-E96C-4568-8EE2-8D8FEA7176EC}">
      <dgm:prSet/>
      <dgm:spPr/>
      <dgm:t>
        <a:bodyPr/>
        <a:lstStyle/>
        <a:p>
          <a:endParaRPr lang="nl-NL"/>
        </a:p>
      </dgm:t>
    </dgm:pt>
    <dgm:pt modelId="{B5B5B619-671C-4FA5-8E77-A510978A0E29}">
      <dgm:prSet phldrT="[Text]"/>
      <dgm:spPr/>
      <dgm:t>
        <a:bodyPr/>
        <a:lstStyle/>
        <a:p>
          <a:r>
            <a:rPr lang="en-US" dirty="0"/>
            <a:t> </a:t>
          </a:r>
          <a:r>
            <a:rPr lang="en-US" b="1" dirty="0"/>
            <a:t>Safety</a:t>
          </a:r>
          <a:endParaRPr lang="nl-NL" b="1" dirty="0"/>
        </a:p>
      </dgm:t>
    </dgm:pt>
    <dgm:pt modelId="{187D0BC7-0157-4A5C-8097-C7EB27DB3D06}" type="parTrans" cxnId="{E0CFF158-8B31-4FB2-9299-D72783813EFE}">
      <dgm:prSet/>
      <dgm:spPr/>
      <dgm:t>
        <a:bodyPr/>
        <a:lstStyle/>
        <a:p>
          <a:endParaRPr lang="nl-NL"/>
        </a:p>
      </dgm:t>
    </dgm:pt>
    <dgm:pt modelId="{5421D7E5-301C-4A7F-A90E-1F686654BFA4}" type="sibTrans" cxnId="{E0CFF158-8B31-4FB2-9299-D72783813EFE}">
      <dgm:prSet/>
      <dgm:spPr/>
      <dgm:t>
        <a:bodyPr/>
        <a:lstStyle/>
        <a:p>
          <a:endParaRPr lang="nl-NL"/>
        </a:p>
      </dgm:t>
    </dgm:pt>
    <dgm:pt modelId="{B80E5649-26F8-4B48-AEA4-19759056AB8D}">
      <dgm:prSet phldrT="[Text]"/>
      <dgm:spPr/>
      <dgm:t>
        <a:bodyPr/>
        <a:lstStyle/>
        <a:p>
          <a:r>
            <a:rPr lang="en-US" dirty="0"/>
            <a:t>2. Understand basics</a:t>
          </a:r>
          <a:endParaRPr lang="nl-NL" dirty="0"/>
        </a:p>
      </dgm:t>
    </dgm:pt>
    <dgm:pt modelId="{1C3F3DD7-3C07-4DF4-862C-6D6B0DFEE720}" type="parTrans" cxnId="{6D8C695E-CFC0-4B5E-A867-A5DDF36E7976}">
      <dgm:prSet/>
      <dgm:spPr/>
      <dgm:t>
        <a:bodyPr/>
        <a:lstStyle/>
        <a:p>
          <a:endParaRPr lang="nl-NL"/>
        </a:p>
      </dgm:t>
    </dgm:pt>
    <dgm:pt modelId="{EE219F0F-9804-43DC-BC40-459840E0529E}" type="sibTrans" cxnId="{6D8C695E-CFC0-4B5E-A867-A5DDF36E7976}">
      <dgm:prSet/>
      <dgm:spPr/>
      <dgm:t>
        <a:bodyPr/>
        <a:lstStyle/>
        <a:p>
          <a:endParaRPr lang="nl-NL"/>
        </a:p>
      </dgm:t>
    </dgm:pt>
    <dgm:pt modelId="{946F5445-BA5D-461B-A985-3BDB3A063EC4}">
      <dgm:prSet phldrT="[Text]"/>
      <dgm:spPr/>
      <dgm:t>
        <a:bodyPr/>
        <a:lstStyle/>
        <a:p>
          <a:r>
            <a:rPr lang="en-US"/>
            <a:t> </a:t>
          </a:r>
          <a:r>
            <a:rPr lang="en-US" b="1"/>
            <a:t>G-forces</a:t>
          </a:r>
          <a:endParaRPr lang="nl-NL" b="1"/>
        </a:p>
      </dgm:t>
    </dgm:pt>
    <dgm:pt modelId="{8118534D-3CE8-4FE2-A9F1-44BEFB781987}" type="parTrans" cxnId="{9783314A-30D4-4FA2-A7F4-0DED8F659F68}">
      <dgm:prSet/>
      <dgm:spPr/>
      <dgm:t>
        <a:bodyPr/>
        <a:lstStyle/>
        <a:p>
          <a:endParaRPr lang="nl-NL"/>
        </a:p>
      </dgm:t>
    </dgm:pt>
    <dgm:pt modelId="{BA9393CB-47A2-46C5-B76D-3649B22FB994}" type="sibTrans" cxnId="{9783314A-30D4-4FA2-A7F4-0DED8F659F68}">
      <dgm:prSet/>
      <dgm:spPr/>
      <dgm:t>
        <a:bodyPr/>
        <a:lstStyle/>
        <a:p>
          <a:endParaRPr lang="nl-NL"/>
        </a:p>
      </dgm:t>
    </dgm:pt>
    <dgm:pt modelId="{FD89D887-F042-4699-A3AC-281D46F92B8C}">
      <dgm:prSet phldrT="[Text]"/>
      <dgm:spPr/>
      <dgm:t>
        <a:bodyPr/>
        <a:lstStyle/>
        <a:p>
          <a:r>
            <a:rPr lang="en-US"/>
            <a:t>6. Review &amp; monitor</a:t>
          </a:r>
          <a:endParaRPr lang="nl-NL"/>
        </a:p>
      </dgm:t>
    </dgm:pt>
    <dgm:pt modelId="{2697AC10-75BF-410B-9C1B-AA34CEB9906B}" type="parTrans" cxnId="{BBA66EF0-82EB-4CF7-9426-1FC2B5BF1067}">
      <dgm:prSet/>
      <dgm:spPr/>
      <dgm:t>
        <a:bodyPr/>
        <a:lstStyle/>
        <a:p>
          <a:endParaRPr lang="nl-NL"/>
        </a:p>
      </dgm:t>
    </dgm:pt>
    <dgm:pt modelId="{E3736F8D-1D97-4D62-B66A-941DF3F42EE5}" type="sibTrans" cxnId="{BBA66EF0-82EB-4CF7-9426-1FC2B5BF1067}">
      <dgm:prSet/>
      <dgm:spPr/>
      <dgm:t>
        <a:bodyPr/>
        <a:lstStyle/>
        <a:p>
          <a:endParaRPr lang="nl-NL"/>
        </a:p>
      </dgm:t>
    </dgm:pt>
    <dgm:pt modelId="{E0522B95-37FE-4E9C-BDD7-FA4319AAC8A1}">
      <dgm:prSet phldrT="[Text]"/>
      <dgm:spPr/>
      <dgm:t>
        <a:bodyPr/>
        <a:lstStyle/>
        <a:p>
          <a:r>
            <a:rPr lang="en-US"/>
            <a:t> </a:t>
          </a:r>
          <a:r>
            <a:rPr lang="en-US" b="1"/>
            <a:t>Changing legislations</a:t>
          </a:r>
          <a:endParaRPr lang="nl-NL" b="1"/>
        </a:p>
      </dgm:t>
    </dgm:pt>
    <dgm:pt modelId="{380F3E04-63BF-47C6-8C12-3701AD684FDE}" type="parTrans" cxnId="{CC77F5D2-BB61-426C-B5F7-AF3CF5B4494A}">
      <dgm:prSet/>
      <dgm:spPr/>
      <dgm:t>
        <a:bodyPr/>
        <a:lstStyle/>
        <a:p>
          <a:endParaRPr lang="nl-NL"/>
        </a:p>
      </dgm:t>
    </dgm:pt>
    <dgm:pt modelId="{BE5A3229-55FC-4B43-A593-1F9E77802F2F}" type="sibTrans" cxnId="{CC77F5D2-BB61-426C-B5F7-AF3CF5B4494A}">
      <dgm:prSet/>
      <dgm:spPr/>
      <dgm:t>
        <a:bodyPr/>
        <a:lstStyle/>
        <a:p>
          <a:endParaRPr lang="nl-NL"/>
        </a:p>
      </dgm:t>
    </dgm:pt>
    <dgm:pt modelId="{575FF9BF-2D2D-4DD9-93EE-2449C443E4D7}">
      <dgm:prSet/>
      <dgm:spPr/>
      <dgm:t>
        <a:bodyPr/>
        <a:lstStyle/>
        <a:p>
          <a:r>
            <a:rPr lang="en-US" dirty="0"/>
            <a:t>3. Ensure stability shipping unit</a:t>
          </a:r>
          <a:endParaRPr lang="nl-NL" dirty="0"/>
        </a:p>
      </dgm:t>
    </dgm:pt>
    <dgm:pt modelId="{52824C96-15B0-443E-BDFC-030B8DDA02A7}" type="parTrans" cxnId="{C9F22D6B-2C74-4385-96B4-56782938EE37}">
      <dgm:prSet/>
      <dgm:spPr/>
      <dgm:t>
        <a:bodyPr/>
        <a:lstStyle/>
        <a:p>
          <a:endParaRPr lang="nl-NL"/>
        </a:p>
      </dgm:t>
    </dgm:pt>
    <dgm:pt modelId="{835538E3-FC1E-4524-BCB3-CB41EE6C67B1}" type="sibTrans" cxnId="{C9F22D6B-2C74-4385-96B4-56782938EE37}">
      <dgm:prSet/>
      <dgm:spPr/>
      <dgm:t>
        <a:bodyPr/>
        <a:lstStyle/>
        <a:p>
          <a:endParaRPr lang="nl-NL"/>
        </a:p>
      </dgm:t>
    </dgm:pt>
    <dgm:pt modelId="{214532E4-B9CB-44F0-9F56-6D923DD59C08}">
      <dgm:prSet/>
      <dgm:spPr/>
      <dgm:t>
        <a:bodyPr/>
        <a:lstStyle/>
        <a:p>
          <a:r>
            <a:rPr lang="en-US"/>
            <a:t>4. Transport mode</a:t>
          </a:r>
          <a:endParaRPr lang="nl-NL"/>
        </a:p>
      </dgm:t>
    </dgm:pt>
    <dgm:pt modelId="{2B640DAF-7662-4FFE-A0D5-54864A9F27BA}" type="parTrans" cxnId="{2A5F4917-4BB9-4648-8371-75503AC76513}">
      <dgm:prSet/>
      <dgm:spPr/>
      <dgm:t>
        <a:bodyPr/>
        <a:lstStyle/>
        <a:p>
          <a:endParaRPr lang="nl-NL"/>
        </a:p>
      </dgm:t>
    </dgm:pt>
    <dgm:pt modelId="{443DE753-21BF-46AF-8A88-CEE4A6A1259A}" type="sibTrans" cxnId="{2A5F4917-4BB9-4648-8371-75503AC76513}">
      <dgm:prSet/>
      <dgm:spPr/>
      <dgm:t>
        <a:bodyPr/>
        <a:lstStyle/>
        <a:p>
          <a:endParaRPr lang="nl-NL"/>
        </a:p>
      </dgm:t>
    </dgm:pt>
    <dgm:pt modelId="{B7054FFF-AC9F-4962-8389-1D9DF861AA30}">
      <dgm:prSet/>
      <dgm:spPr/>
      <dgm:t>
        <a:bodyPr/>
        <a:lstStyle/>
        <a:p>
          <a:r>
            <a:rPr lang="en-US"/>
            <a:t>5. Implementation</a:t>
          </a:r>
          <a:endParaRPr lang="nl-NL"/>
        </a:p>
      </dgm:t>
    </dgm:pt>
    <dgm:pt modelId="{238E8CDD-FB55-48C7-864F-11363198B5C5}" type="parTrans" cxnId="{1B03AE48-315F-429E-9450-AD6AB91623DF}">
      <dgm:prSet/>
      <dgm:spPr/>
      <dgm:t>
        <a:bodyPr/>
        <a:lstStyle/>
        <a:p>
          <a:endParaRPr lang="nl-NL"/>
        </a:p>
      </dgm:t>
    </dgm:pt>
    <dgm:pt modelId="{3D2E039A-A3BB-4E76-A54C-4558B20B17FA}" type="sibTrans" cxnId="{1B03AE48-315F-429E-9450-AD6AB91623DF}">
      <dgm:prSet/>
      <dgm:spPr/>
      <dgm:t>
        <a:bodyPr/>
        <a:lstStyle/>
        <a:p>
          <a:endParaRPr lang="nl-NL"/>
        </a:p>
      </dgm:t>
    </dgm:pt>
    <dgm:pt modelId="{C4C38E34-9C6F-4E7E-95D0-C3EEAF5753D8}">
      <dgm:prSet phldrT="[Text]"/>
      <dgm:spPr/>
      <dgm:t>
        <a:bodyPr/>
        <a:lstStyle/>
        <a:p>
          <a:r>
            <a:rPr lang="en-US"/>
            <a:t> </a:t>
          </a:r>
          <a:r>
            <a:rPr lang="en-US" b="1"/>
            <a:t>Quality</a:t>
          </a:r>
          <a:endParaRPr lang="nl-NL" b="1"/>
        </a:p>
      </dgm:t>
    </dgm:pt>
    <dgm:pt modelId="{AC3E49AC-562F-4B10-B919-96DE72A4572B}" type="parTrans" cxnId="{35B84719-5829-4936-A34F-7068BE251059}">
      <dgm:prSet/>
      <dgm:spPr/>
      <dgm:t>
        <a:bodyPr/>
        <a:lstStyle/>
        <a:p>
          <a:endParaRPr lang="nl-NL"/>
        </a:p>
      </dgm:t>
    </dgm:pt>
    <dgm:pt modelId="{5935E400-15AC-4808-B117-787631E9A4D6}" type="sibTrans" cxnId="{35B84719-5829-4936-A34F-7068BE251059}">
      <dgm:prSet/>
      <dgm:spPr/>
      <dgm:t>
        <a:bodyPr/>
        <a:lstStyle/>
        <a:p>
          <a:endParaRPr lang="nl-NL"/>
        </a:p>
      </dgm:t>
    </dgm:pt>
    <dgm:pt modelId="{58E30DFC-832A-4067-A793-3B898FA48B31}">
      <dgm:prSet phldrT="[Text]"/>
      <dgm:spPr/>
      <dgm:t>
        <a:bodyPr/>
        <a:lstStyle/>
        <a:p>
          <a:r>
            <a:rPr lang="en-US"/>
            <a:t> </a:t>
          </a:r>
          <a:r>
            <a:rPr lang="en-US" b="1"/>
            <a:t>Compliancy</a:t>
          </a:r>
          <a:endParaRPr lang="nl-NL" b="1"/>
        </a:p>
      </dgm:t>
    </dgm:pt>
    <dgm:pt modelId="{3604B18F-A652-4C72-AD7A-487F2F2D6C9E}" type="parTrans" cxnId="{9600F713-4A1F-45A4-ACE4-FC8D8F9C1F45}">
      <dgm:prSet/>
      <dgm:spPr/>
      <dgm:t>
        <a:bodyPr/>
        <a:lstStyle/>
        <a:p>
          <a:endParaRPr lang="nl-NL"/>
        </a:p>
      </dgm:t>
    </dgm:pt>
    <dgm:pt modelId="{14CA0BBB-54B8-47E8-944F-CA17A83C0481}" type="sibTrans" cxnId="{9600F713-4A1F-45A4-ACE4-FC8D8F9C1F45}">
      <dgm:prSet/>
      <dgm:spPr/>
      <dgm:t>
        <a:bodyPr/>
        <a:lstStyle/>
        <a:p>
          <a:endParaRPr lang="nl-NL"/>
        </a:p>
      </dgm:t>
    </dgm:pt>
    <dgm:pt modelId="{86FC5121-FB32-4B6A-906A-A19DEE692A00}">
      <dgm:prSet phldrT="[Text]"/>
      <dgm:spPr/>
      <dgm:t>
        <a:bodyPr/>
        <a:lstStyle/>
        <a:p>
          <a:r>
            <a:rPr lang="en-US"/>
            <a:t> </a:t>
          </a:r>
          <a:r>
            <a:rPr lang="en-US" b="1"/>
            <a:t>Operational</a:t>
          </a:r>
          <a:endParaRPr lang="nl-NL" b="1"/>
        </a:p>
      </dgm:t>
    </dgm:pt>
    <dgm:pt modelId="{A82776E0-5953-442E-95E3-3E94183CCE60}" type="parTrans" cxnId="{833AD03D-B288-469A-9226-8BC4E5592E5A}">
      <dgm:prSet/>
      <dgm:spPr/>
      <dgm:t>
        <a:bodyPr/>
        <a:lstStyle/>
        <a:p>
          <a:endParaRPr lang="nl-NL"/>
        </a:p>
      </dgm:t>
    </dgm:pt>
    <dgm:pt modelId="{1C3AD532-9B6B-404E-8279-3CFE5C20EB83}" type="sibTrans" cxnId="{833AD03D-B288-469A-9226-8BC4E5592E5A}">
      <dgm:prSet/>
      <dgm:spPr/>
      <dgm:t>
        <a:bodyPr/>
        <a:lstStyle/>
        <a:p>
          <a:endParaRPr lang="nl-NL"/>
        </a:p>
      </dgm:t>
    </dgm:pt>
    <dgm:pt modelId="{BDEA2256-3932-4DEC-BB09-808F1073E463}">
      <dgm:prSet phldrT="[Text]"/>
      <dgm:spPr/>
      <dgm:t>
        <a:bodyPr/>
        <a:lstStyle/>
        <a:p>
          <a:r>
            <a:rPr lang="en-US"/>
            <a:t> </a:t>
          </a:r>
          <a:r>
            <a:rPr lang="en-US" b="1"/>
            <a:t>Responsibilities</a:t>
          </a:r>
          <a:endParaRPr lang="nl-NL" b="1"/>
        </a:p>
      </dgm:t>
    </dgm:pt>
    <dgm:pt modelId="{0ECF6FD1-D175-47A9-8A37-5A59F3D72C07}" type="parTrans" cxnId="{6C1C5B1B-2587-4C71-B66A-C95016EC71B0}">
      <dgm:prSet/>
      <dgm:spPr/>
      <dgm:t>
        <a:bodyPr/>
        <a:lstStyle/>
        <a:p>
          <a:endParaRPr lang="nl-NL"/>
        </a:p>
      </dgm:t>
    </dgm:pt>
    <dgm:pt modelId="{04F88239-5393-40D7-B4E8-5E27C712F244}" type="sibTrans" cxnId="{6C1C5B1B-2587-4C71-B66A-C95016EC71B0}">
      <dgm:prSet/>
      <dgm:spPr/>
      <dgm:t>
        <a:bodyPr/>
        <a:lstStyle/>
        <a:p>
          <a:endParaRPr lang="nl-NL"/>
        </a:p>
      </dgm:t>
    </dgm:pt>
    <dgm:pt modelId="{6ED259D4-000F-4D87-B9F1-FEFF0074845B}">
      <dgm:prSet phldrT="[Text]"/>
      <dgm:spPr/>
      <dgm:t>
        <a:bodyPr/>
        <a:lstStyle/>
        <a:p>
          <a:r>
            <a:rPr lang="en-US"/>
            <a:t> </a:t>
          </a:r>
          <a:r>
            <a:rPr lang="en-US" u="sng"/>
            <a:t>Shipper</a:t>
          </a:r>
          <a:r>
            <a:rPr lang="en-US"/>
            <a:t>:</a:t>
          </a:r>
          <a:endParaRPr lang="nl-NL"/>
        </a:p>
      </dgm:t>
    </dgm:pt>
    <dgm:pt modelId="{102F3C3A-4B97-4DC6-9133-20E879176543}" type="parTrans" cxnId="{8B40C2BF-F877-49FA-B729-BAED3800FD2C}">
      <dgm:prSet/>
      <dgm:spPr/>
      <dgm:t>
        <a:bodyPr/>
        <a:lstStyle/>
        <a:p>
          <a:endParaRPr lang="nl-NL"/>
        </a:p>
      </dgm:t>
    </dgm:pt>
    <dgm:pt modelId="{A918C341-170A-40DF-B37E-772E55C62326}" type="sibTrans" cxnId="{8B40C2BF-F877-49FA-B729-BAED3800FD2C}">
      <dgm:prSet/>
      <dgm:spPr/>
      <dgm:t>
        <a:bodyPr/>
        <a:lstStyle/>
        <a:p>
          <a:endParaRPr lang="nl-NL"/>
        </a:p>
      </dgm:t>
    </dgm:pt>
    <dgm:pt modelId="{142102AC-3FB6-42E7-B7C1-20405833D3A3}">
      <dgm:prSet phldrT="[Text]"/>
      <dgm:spPr/>
      <dgm:t>
        <a:bodyPr/>
        <a:lstStyle/>
        <a:p>
          <a:endParaRPr lang="nl-NL"/>
        </a:p>
      </dgm:t>
    </dgm:pt>
    <dgm:pt modelId="{1077333A-DD90-49A7-86BA-16B718B4A0BA}" type="parTrans" cxnId="{6B9E5669-0C23-408B-A202-9F345E1347E3}">
      <dgm:prSet/>
      <dgm:spPr/>
      <dgm:t>
        <a:bodyPr/>
        <a:lstStyle/>
        <a:p>
          <a:endParaRPr lang="nl-NL"/>
        </a:p>
      </dgm:t>
    </dgm:pt>
    <dgm:pt modelId="{461CE9B3-FD51-45C0-A653-8C284D8989CB}" type="sibTrans" cxnId="{6B9E5669-0C23-408B-A202-9F345E1347E3}">
      <dgm:prSet/>
      <dgm:spPr/>
      <dgm:t>
        <a:bodyPr/>
        <a:lstStyle/>
        <a:p>
          <a:endParaRPr lang="nl-NL"/>
        </a:p>
      </dgm:t>
    </dgm:pt>
    <dgm:pt modelId="{B571D74A-5181-4E83-A423-36D758DE2A66}">
      <dgm:prSet phldrT="[Text]"/>
      <dgm:spPr/>
      <dgm:t>
        <a:bodyPr/>
        <a:lstStyle/>
        <a:p>
          <a:endParaRPr lang="nl-NL"/>
        </a:p>
      </dgm:t>
    </dgm:pt>
    <dgm:pt modelId="{71C09BD7-2454-4C3B-9CFA-A03476E3A073}" type="parTrans" cxnId="{4775E24E-DD7C-4DC9-BD45-A791FA9D2284}">
      <dgm:prSet/>
      <dgm:spPr/>
      <dgm:t>
        <a:bodyPr/>
        <a:lstStyle/>
        <a:p>
          <a:endParaRPr lang="nl-NL"/>
        </a:p>
      </dgm:t>
    </dgm:pt>
    <dgm:pt modelId="{78C1264B-EA75-4E51-B547-708106157559}" type="sibTrans" cxnId="{4775E24E-DD7C-4DC9-BD45-A791FA9D2284}">
      <dgm:prSet/>
      <dgm:spPr/>
      <dgm:t>
        <a:bodyPr/>
        <a:lstStyle/>
        <a:p>
          <a:endParaRPr lang="nl-NL"/>
        </a:p>
      </dgm:t>
    </dgm:pt>
    <dgm:pt modelId="{5A06A1A7-B3DC-419B-BE8B-325D579D0E8B}">
      <dgm:prSet phldrT="[Text]"/>
      <dgm:spPr/>
      <dgm:t>
        <a:bodyPr/>
        <a:lstStyle/>
        <a:p>
          <a:endParaRPr lang="nl-NL"/>
        </a:p>
      </dgm:t>
    </dgm:pt>
    <dgm:pt modelId="{343157B3-329F-4395-A3A6-9996AF945141}" type="parTrans" cxnId="{AA9A2367-CC31-4AAA-BB07-3466AF289920}">
      <dgm:prSet/>
      <dgm:spPr/>
      <dgm:t>
        <a:bodyPr/>
        <a:lstStyle/>
        <a:p>
          <a:endParaRPr lang="nl-NL"/>
        </a:p>
      </dgm:t>
    </dgm:pt>
    <dgm:pt modelId="{CC01BE00-F8A7-4B7D-A099-D7E8ABA717DC}" type="sibTrans" cxnId="{AA9A2367-CC31-4AAA-BB07-3466AF289920}">
      <dgm:prSet/>
      <dgm:spPr/>
      <dgm:t>
        <a:bodyPr/>
        <a:lstStyle/>
        <a:p>
          <a:endParaRPr lang="nl-NL"/>
        </a:p>
      </dgm:t>
    </dgm:pt>
    <dgm:pt modelId="{216AC2A6-D2AD-4B71-A96B-2AF4A9CC9868}">
      <dgm:prSet phldrT="[Text]"/>
      <dgm:spPr/>
      <dgm:t>
        <a:bodyPr/>
        <a:lstStyle/>
        <a:p>
          <a:r>
            <a:rPr lang="en-US"/>
            <a:t> </a:t>
          </a:r>
          <a:r>
            <a:rPr lang="en-US" u="sng"/>
            <a:t>Carrier</a:t>
          </a:r>
          <a:r>
            <a:rPr lang="en-US"/>
            <a:t>:</a:t>
          </a:r>
          <a:endParaRPr lang="nl-NL"/>
        </a:p>
      </dgm:t>
    </dgm:pt>
    <dgm:pt modelId="{C5B32F32-C6D7-4393-8100-F410A49F9339}" type="parTrans" cxnId="{CAF37269-1724-4359-BB81-04CE4F3BBA7A}">
      <dgm:prSet/>
      <dgm:spPr/>
      <dgm:t>
        <a:bodyPr/>
        <a:lstStyle/>
        <a:p>
          <a:endParaRPr lang="nl-NL"/>
        </a:p>
      </dgm:t>
    </dgm:pt>
    <dgm:pt modelId="{25E344DA-18A6-4BDA-9593-2C668D8824BE}" type="sibTrans" cxnId="{CAF37269-1724-4359-BB81-04CE4F3BBA7A}">
      <dgm:prSet/>
      <dgm:spPr/>
      <dgm:t>
        <a:bodyPr/>
        <a:lstStyle/>
        <a:p>
          <a:endParaRPr lang="nl-NL"/>
        </a:p>
      </dgm:t>
    </dgm:pt>
    <dgm:pt modelId="{0228F531-196E-4FE1-80D1-FA3A81532298}">
      <dgm:prSet phldrT="[Text]"/>
      <dgm:spPr/>
      <dgm:t>
        <a:bodyPr/>
        <a:lstStyle/>
        <a:p>
          <a:r>
            <a:rPr lang="en-US"/>
            <a:t> Stable shipping unit</a:t>
          </a:r>
          <a:endParaRPr lang="nl-NL"/>
        </a:p>
      </dgm:t>
    </dgm:pt>
    <dgm:pt modelId="{DD093378-4A37-497A-BC89-9E67B5C40245}" type="parTrans" cxnId="{353CD5F9-7AFE-4188-9050-0061E7325367}">
      <dgm:prSet/>
      <dgm:spPr/>
      <dgm:t>
        <a:bodyPr/>
        <a:lstStyle/>
        <a:p>
          <a:endParaRPr lang="nl-NL"/>
        </a:p>
      </dgm:t>
    </dgm:pt>
    <dgm:pt modelId="{C3B00A6F-205D-4CA9-B45D-46F3B82E6177}" type="sibTrans" cxnId="{353CD5F9-7AFE-4188-9050-0061E7325367}">
      <dgm:prSet/>
      <dgm:spPr/>
      <dgm:t>
        <a:bodyPr/>
        <a:lstStyle/>
        <a:p>
          <a:endParaRPr lang="nl-NL"/>
        </a:p>
      </dgm:t>
    </dgm:pt>
    <dgm:pt modelId="{0A50C411-5396-4464-9158-690F90666C9C}">
      <dgm:prSet phldrT="[Text]"/>
      <dgm:spPr/>
      <dgm:t>
        <a:bodyPr/>
        <a:lstStyle/>
        <a:p>
          <a:r>
            <a:rPr lang="en-US"/>
            <a:t> </a:t>
          </a:r>
          <a:r>
            <a:rPr lang="en-US" i="1"/>
            <a:t>Enabler</a:t>
          </a:r>
          <a:endParaRPr lang="nl-NL" i="1"/>
        </a:p>
      </dgm:t>
    </dgm:pt>
    <dgm:pt modelId="{478964FF-5127-4323-A8EB-75252722E275}" type="parTrans" cxnId="{4CA252EE-62D9-4F94-8BE4-6E88AFF20E9B}">
      <dgm:prSet/>
      <dgm:spPr/>
      <dgm:t>
        <a:bodyPr/>
        <a:lstStyle/>
        <a:p>
          <a:endParaRPr lang="nl-NL"/>
        </a:p>
      </dgm:t>
    </dgm:pt>
    <dgm:pt modelId="{6F173974-41EC-4BDB-AC9F-249C396DA11B}" type="sibTrans" cxnId="{4CA252EE-62D9-4F94-8BE4-6E88AFF20E9B}">
      <dgm:prSet/>
      <dgm:spPr/>
      <dgm:t>
        <a:bodyPr/>
        <a:lstStyle/>
        <a:p>
          <a:endParaRPr lang="nl-NL"/>
        </a:p>
      </dgm:t>
    </dgm:pt>
    <dgm:pt modelId="{FA6BE64B-2344-41CF-A343-4632710209A8}">
      <dgm:prSet phldrT="[Text]"/>
      <dgm:spPr/>
      <dgm:t>
        <a:bodyPr/>
        <a:lstStyle/>
        <a:p>
          <a:r>
            <a:rPr lang="en-US"/>
            <a:t> Equipment</a:t>
          </a:r>
          <a:endParaRPr lang="nl-NL"/>
        </a:p>
      </dgm:t>
    </dgm:pt>
    <dgm:pt modelId="{DF41F7E1-E07E-4A3F-9A16-C159827F0089}" type="parTrans" cxnId="{0E0D3D5C-4BCC-4091-BBFE-D43A81BF798A}">
      <dgm:prSet/>
      <dgm:spPr/>
      <dgm:t>
        <a:bodyPr/>
        <a:lstStyle/>
        <a:p>
          <a:endParaRPr lang="nl-NL"/>
        </a:p>
      </dgm:t>
    </dgm:pt>
    <dgm:pt modelId="{7FAC63BD-93B5-434B-AA76-52F6DA386325}" type="sibTrans" cxnId="{0E0D3D5C-4BCC-4091-BBFE-D43A81BF798A}">
      <dgm:prSet/>
      <dgm:spPr/>
      <dgm:t>
        <a:bodyPr/>
        <a:lstStyle/>
        <a:p>
          <a:endParaRPr lang="nl-NL"/>
        </a:p>
      </dgm:t>
    </dgm:pt>
    <dgm:pt modelId="{B802D3C9-B097-4A01-9A0B-09162EA4F33F}">
      <dgm:prSet phldrT="[Text]"/>
      <dgm:spPr/>
      <dgm:t>
        <a:bodyPr/>
        <a:lstStyle/>
        <a:p>
          <a:r>
            <a:rPr lang="en-US"/>
            <a:t> </a:t>
          </a:r>
          <a:r>
            <a:rPr lang="en-US" i="1"/>
            <a:t>Executer</a:t>
          </a:r>
          <a:endParaRPr lang="nl-NL" i="1"/>
        </a:p>
      </dgm:t>
    </dgm:pt>
    <dgm:pt modelId="{476BC955-4B2C-41D5-ACCD-D31D14D32C66}" type="parTrans" cxnId="{8DBAD486-D6AC-4D0A-8C13-6D7B4ED81BFC}">
      <dgm:prSet/>
      <dgm:spPr/>
      <dgm:t>
        <a:bodyPr/>
        <a:lstStyle/>
        <a:p>
          <a:endParaRPr lang="nl-NL"/>
        </a:p>
      </dgm:t>
    </dgm:pt>
    <dgm:pt modelId="{C375586D-A099-4801-9AD9-6CAF029FEABC}" type="sibTrans" cxnId="{8DBAD486-D6AC-4D0A-8C13-6D7B4ED81BFC}">
      <dgm:prSet/>
      <dgm:spPr/>
      <dgm:t>
        <a:bodyPr/>
        <a:lstStyle/>
        <a:p>
          <a:endParaRPr lang="nl-NL"/>
        </a:p>
      </dgm:t>
    </dgm:pt>
    <dgm:pt modelId="{6706972C-5110-42C5-B4FB-DA2EAACE8192}">
      <dgm:prSet phldrT="[Text]"/>
      <dgm:spPr/>
      <dgm:t>
        <a:bodyPr/>
        <a:lstStyle/>
        <a:p>
          <a:r>
            <a:rPr lang="en-US"/>
            <a:t> </a:t>
          </a:r>
          <a:r>
            <a:rPr lang="en-US" b="1"/>
            <a:t>Securing method</a:t>
          </a:r>
          <a:endParaRPr lang="nl-NL" b="1"/>
        </a:p>
      </dgm:t>
    </dgm:pt>
    <dgm:pt modelId="{98D345D4-7F9D-42F6-BFB3-78845D30A6A5}" type="parTrans" cxnId="{4E5BBAB2-2E85-45A7-9BAF-D6E57B9B5693}">
      <dgm:prSet/>
      <dgm:spPr/>
      <dgm:t>
        <a:bodyPr/>
        <a:lstStyle/>
        <a:p>
          <a:endParaRPr lang="nl-NL"/>
        </a:p>
      </dgm:t>
    </dgm:pt>
    <dgm:pt modelId="{ACBA4D85-4B21-49C0-90DB-3226AB906DFC}" type="sibTrans" cxnId="{4E5BBAB2-2E85-45A7-9BAF-D6E57B9B5693}">
      <dgm:prSet/>
      <dgm:spPr/>
      <dgm:t>
        <a:bodyPr/>
        <a:lstStyle/>
        <a:p>
          <a:endParaRPr lang="nl-NL"/>
        </a:p>
      </dgm:t>
    </dgm:pt>
    <dgm:pt modelId="{C4CCEDF1-5897-45B0-B66C-8811F3685D76}">
      <dgm:prSet phldrT="[Text]"/>
      <dgm:spPr/>
      <dgm:t>
        <a:bodyPr/>
        <a:lstStyle/>
        <a:p>
          <a:endParaRPr lang="nl-NL"/>
        </a:p>
      </dgm:t>
    </dgm:pt>
    <dgm:pt modelId="{73421055-5005-4BEB-A37E-CA5551C40B76}" type="parTrans" cxnId="{706AAE29-928A-4789-89DE-AAA9423442B8}">
      <dgm:prSet/>
      <dgm:spPr/>
      <dgm:t>
        <a:bodyPr/>
        <a:lstStyle/>
        <a:p>
          <a:endParaRPr lang="nl-NL"/>
        </a:p>
      </dgm:t>
    </dgm:pt>
    <dgm:pt modelId="{D49F01BF-EFE7-4535-95FF-6EFA5EB2705D}" type="sibTrans" cxnId="{706AAE29-928A-4789-89DE-AAA9423442B8}">
      <dgm:prSet/>
      <dgm:spPr/>
      <dgm:t>
        <a:bodyPr/>
        <a:lstStyle/>
        <a:p>
          <a:endParaRPr lang="nl-NL"/>
        </a:p>
      </dgm:t>
    </dgm:pt>
    <dgm:pt modelId="{A9874AF0-4739-4437-821A-6CFD277CB4E9}">
      <dgm:prSet/>
      <dgm:spPr/>
      <dgm:t>
        <a:bodyPr/>
        <a:lstStyle/>
        <a:p>
          <a:r>
            <a:rPr lang="en-US" sz="1000" dirty="0"/>
            <a:t> </a:t>
          </a:r>
          <a:r>
            <a:rPr lang="en-US" sz="1000" b="1" dirty="0"/>
            <a:t>Create</a:t>
          </a:r>
          <a:r>
            <a:rPr lang="en-US" sz="1000" dirty="0"/>
            <a:t> </a:t>
          </a:r>
          <a:r>
            <a:rPr lang="en-US" sz="1000" b="1" dirty="0"/>
            <a:t>stable shipping unit</a:t>
          </a:r>
          <a:endParaRPr lang="nl-NL" sz="1000" b="1" dirty="0"/>
        </a:p>
      </dgm:t>
    </dgm:pt>
    <dgm:pt modelId="{230556FF-8626-4B65-8003-CF8B553A1451}" type="parTrans" cxnId="{11FE36EC-A25D-46E1-A065-A55848CC08E9}">
      <dgm:prSet/>
      <dgm:spPr/>
      <dgm:t>
        <a:bodyPr/>
        <a:lstStyle/>
        <a:p>
          <a:endParaRPr lang="nl-NL"/>
        </a:p>
      </dgm:t>
    </dgm:pt>
    <dgm:pt modelId="{1BC027A9-5C5C-4EA2-968D-26B9288C9C82}" type="sibTrans" cxnId="{11FE36EC-A25D-46E1-A065-A55848CC08E9}">
      <dgm:prSet/>
      <dgm:spPr/>
      <dgm:t>
        <a:bodyPr/>
        <a:lstStyle/>
        <a:p>
          <a:endParaRPr lang="nl-NL"/>
        </a:p>
      </dgm:t>
    </dgm:pt>
    <dgm:pt modelId="{0387FF82-BBD5-4BB2-9FE2-B85ABFE170A4}">
      <dgm:prSet/>
      <dgm:spPr/>
      <dgm:t>
        <a:bodyPr/>
        <a:lstStyle/>
        <a:p>
          <a:endParaRPr lang="nl-NL" sz="1000"/>
        </a:p>
      </dgm:t>
    </dgm:pt>
    <dgm:pt modelId="{F3479BA8-F922-44CB-BE6C-81C34BFD57AA}" type="parTrans" cxnId="{8B1692B2-D665-44F5-B399-2810B611E797}">
      <dgm:prSet/>
      <dgm:spPr/>
      <dgm:t>
        <a:bodyPr/>
        <a:lstStyle/>
        <a:p>
          <a:endParaRPr lang="nl-NL"/>
        </a:p>
      </dgm:t>
    </dgm:pt>
    <dgm:pt modelId="{3A1A1EBA-9617-4068-8FDF-40F236E83F2B}" type="sibTrans" cxnId="{8B1692B2-D665-44F5-B399-2810B611E797}">
      <dgm:prSet/>
      <dgm:spPr/>
      <dgm:t>
        <a:bodyPr/>
        <a:lstStyle/>
        <a:p>
          <a:endParaRPr lang="nl-NL"/>
        </a:p>
      </dgm:t>
    </dgm:pt>
    <dgm:pt modelId="{C8708369-F004-40B3-85FE-766ABEFD2BB7}">
      <dgm:prSet/>
      <dgm:spPr/>
      <dgm:t>
        <a:bodyPr/>
        <a:lstStyle/>
        <a:p>
          <a:pPr>
            <a:buFont typeface="+mj-lt"/>
            <a:buAutoNum type="arabicPeriod"/>
          </a:pPr>
          <a:r>
            <a:rPr lang="en-US" b="1"/>
            <a:t>Pre-loading check</a:t>
          </a:r>
          <a:endParaRPr lang="nl-NL" b="1"/>
        </a:p>
      </dgm:t>
    </dgm:pt>
    <dgm:pt modelId="{B285F728-AB5F-4801-AE32-489C2087690A}" type="parTrans" cxnId="{C6A32873-EC24-4F2A-A4FA-D5E5BF8B14BE}">
      <dgm:prSet/>
      <dgm:spPr/>
      <dgm:t>
        <a:bodyPr/>
        <a:lstStyle/>
        <a:p>
          <a:endParaRPr lang="nl-NL"/>
        </a:p>
      </dgm:t>
    </dgm:pt>
    <dgm:pt modelId="{D2FED381-9237-4AFB-9797-9442E4012A67}" type="sibTrans" cxnId="{C6A32873-EC24-4F2A-A4FA-D5E5BF8B14BE}">
      <dgm:prSet/>
      <dgm:spPr/>
      <dgm:t>
        <a:bodyPr/>
        <a:lstStyle/>
        <a:p>
          <a:endParaRPr lang="nl-NL"/>
        </a:p>
      </dgm:t>
    </dgm:pt>
    <dgm:pt modelId="{D25D85F0-E72A-4C94-B50F-057E2834A6D0}">
      <dgm:prSet/>
      <dgm:spPr/>
      <dgm:t>
        <a:bodyPr/>
        <a:lstStyle/>
        <a:p>
          <a:pPr>
            <a:buFont typeface="+mj-lt"/>
            <a:buAutoNum type="arabicPeriod"/>
          </a:pPr>
          <a:r>
            <a:rPr lang="en-US" b="1"/>
            <a:t> “Form-fit” Loading</a:t>
          </a:r>
          <a:endParaRPr lang="nl-NL" b="1"/>
        </a:p>
      </dgm:t>
    </dgm:pt>
    <dgm:pt modelId="{C6C85A31-086A-412F-8403-EF98A2D60340}" type="parTrans" cxnId="{995553D8-6267-4605-BD75-E1EA7336780A}">
      <dgm:prSet/>
      <dgm:spPr/>
      <dgm:t>
        <a:bodyPr/>
        <a:lstStyle/>
        <a:p>
          <a:endParaRPr lang="nl-NL"/>
        </a:p>
      </dgm:t>
    </dgm:pt>
    <dgm:pt modelId="{DBC3C707-4757-4A3E-B494-11482C6D3F9D}" type="sibTrans" cxnId="{995553D8-6267-4605-BD75-E1EA7336780A}">
      <dgm:prSet/>
      <dgm:spPr/>
      <dgm:t>
        <a:bodyPr/>
        <a:lstStyle/>
        <a:p>
          <a:endParaRPr lang="nl-NL"/>
        </a:p>
      </dgm:t>
    </dgm:pt>
    <dgm:pt modelId="{6ABC4392-4D55-4944-B51A-6324F837749A}">
      <dgm:prSet/>
      <dgm:spPr/>
      <dgm:t>
        <a:bodyPr/>
        <a:lstStyle/>
        <a:p>
          <a:pPr>
            <a:buFont typeface="+mj-lt"/>
            <a:buAutoNum type="arabicPeriod"/>
          </a:pPr>
          <a:r>
            <a:rPr lang="en-US" b="1"/>
            <a:t> Blocking and bracing</a:t>
          </a:r>
          <a:endParaRPr lang="nl-NL" b="1"/>
        </a:p>
      </dgm:t>
    </dgm:pt>
    <dgm:pt modelId="{2927DEB3-912C-4E29-945D-1404250AF3F4}" type="parTrans" cxnId="{3B24B11F-6277-4347-B9C2-02D2A7269776}">
      <dgm:prSet/>
      <dgm:spPr/>
      <dgm:t>
        <a:bodyPr/>
        <a:lstStyle/>
        <a:p>
          <a:endParaRPr lang="nl-NL"/>
        </a:p>
      </dgm:t>
    </dgm:pt>
    <dgm:pt modelId="{772F295D-E34B-4CC8-A728-7CBF33B450BF}" type="sibTrans" cxnId="{3B24B11F-6277-4347-B9C2-02D2A7269776}">
      <dgm:prSet/>
      <dgm:spPr/>
      <dgm:t>
        <a:bodyPr/>
        <a:lstStyle/>
        <a:p>
          <a:endParaRPr lang="nl-NL"/>
        </a:p>
      </dgm:t>
    </dgm:pt>
    <dgm:pt modelId="{EC84C51B-5C5B-4E1A-B401-4DDA438550C6}">
      <dgm:prSet/>
      <dgm:spPr/>
      <dgm:t>
        <a:bodyPr/>
        <a:lstStyle/>
        <a:p>
          <a:pPr>
            <a:buFont typeface="+mj-lt"/>
            <a:buAutoNum type="arabicPeriod"/>
          </a:pPr>
          <a:r>
            <a:rPr lang="en-US" b="1"/>
            <a:t> Additional load securing</a:t>
          </a:r>
          <a:endParaRPr lang="nl-NL" b="1"/>
        </a:p>
      </dgm:t>
    </dgm:pt>
    <dgm:pt modelId="{E187652C-8958-4617-8B12-719AF7FB5172}" type="parTrans" cxnId="{88F42562-E286-4D40-B387-35DC761185F6}">
      <dgm:prSet/>
      <dgm:spPr/>
      <dgm:t>
        <a:bodyPr/>
        <a:lstStyle/>
        <a:p>
          <a:endParaRPr lang="nl-NL"/>
        </a:p>
      </dgm:t>
    </dgm:pt>
    <dgm:pt modelId="{8068E7EF-073A-46CF-9D6B-D0D8AAE641E6}" type="sibTrans" cxnId="{88F42562-E286-4D40-B387-35DC761185F6}">
      <dgm:prSet/>
      <dgm:spPr/>
      <dgm:t>
        <a:bodyPr/>
        <a:lstStyle/>
        <a:p>
          <a:endParaRPr lang="nl-NL"/>
        </a:p>
      </dgm:t>
    </dgm:pt>
    <dgm:pt modelId="{D968BCFB-25A7-4E6C-A129-5DD29FA79777}">
      <dgm:prSet/>
      <dgm:spPr/>
      <dgm:t>
        <a:bodyPr/>
        <a:lstStyle/>
        <a:p>
          <a:pPr>
            <a:buFont typeface="+mj-lt"/>
            <a:buAutoNum type="arabicPeriod"/>
          </a:pPr>
          <a:r>
            <a:rPr lang="en-US" b="1"/>
            <a:t> Post-loading check</a:t>
          </a:r>
          <a:endParaRPr lang="nl-NL" b="1"/>
        </a:p>
      </dgm:t>
    </dgm:pt>
    <dgm:pt modelId="{2EF1B0D4-1430-46A0-BAB9-54B05A57B3DA}" type="parTrans" cxnId="{0A67B8D7-0976-4D93-BF70-68612442F868}">
      <dgm:prSet/>
      <dgm:spPr/>
      <dgm:t>
        <a:bodyPr/>
        <a:lstStyle/>
        <a:p>
          <a:endParaRPr lang="nl-NL"/>
        </a:p>
      </dgm:t>
    </dgm:pt>
    <dgm:pt modelId="{88594121-AA37-462D-B2C4-B76115F187E0}" type="sibTrans" cxnId="{0A67B8D7-0976-4D93-BF70-68612442F868}">
      <dgm:prSet/>
      <dgm:spPr/>
      <dgm:t>
        <a:bodyPr/>
        <a:lstStyle/>
        <a:p>
          <a:endParaRPr lang="nl-NL"/>
        </a:p>
      </dgm:t>
    </dgm:pt>
    <dgm:pt modelId="{FAB15925-61F4-478E-86EB-250F299E6E94}">
      <dgm:prSet phldrT="[Text]"/>
      <dgm:spPr/>
      <dgm:t>
        <a:bodyPr/>
        <a:lstStyle/>
        <a:p>
          <a:r>
            <a:rPr lang="en-US"/>
            <a:t> </a:t>
          </a:r>
          <a:r>
            <a:rPr lang="en-US" b="1"/>
            <a:t>Effectiveness check</a:t>
          </a:r>
          <a:endParaRPr lang="nl-NL" b="1"/>
        </a:p>
      </dgm:t>
    </dgm:pt>
    <dgm:pt modelId="{3DA1E0D4-6644-4112-AAC9-EA3C05573771}" type="parTrans" cxnId="{D26192FC-8CDD-4C00-A485-3624F02838FD}">
      <dgm:prSet/>
      <dgm:spPr/>
      <dgm:t>
        <a:bodyPr/>
        <a:lstStyle/>
        <a:p>
          <a:endParaRPr lang="nl-NL"/>
        </a:p>
      </dgm:t>
    </dgm:pt>
    <dgm:pt modelId="{D716C3F1-B407-4563-A5D4-801E3F345EB0}" type="sibTrans" cxnId="{D26192FC-8CDD-4C00-A485-3624F02838FD}">
      <dgm:prSet/>
      <dgm:spPr/>
      <dgm:t>
        <a:bodyPr/>
        <a:lstStyle/>
        <a:p>
          <a:endParaRPr lang="nl-NL"/>
        </a:p>
      </dgm:t>
    </dgm:pt>
    <dgm:pt modelId="{5F5C2A2F-8E10-44E7-AFCF-BA2B2A5C8B93}">
      <dgm:prSet custT="1"/>
      <dgm:spPr/>
      <dgm:t>
        <a:bodyPr/>
        <a:lstStyle/>
        <a:p>
          <a:r>
            <a:rPr lang="en-US" sz="900" b="1" dirty="0"/>
            <a:t>Road</a:t>
          </a:r>
          <a:r>
            <a:rPr lang="en-US" sz="900" dirty="0"/>
            <a:t> (LTL/FTL)</a:t>
          </a:r>
          <a:endParaRPr lang="nl-NL" sz="900" dirty="0"/>
        </a:p>
      </dgm:t>
    </dgm:pt>
    <dgm:pt modelId="{B4DF6B9C-EBFD-4AC7-B3CC-3F8F31EB715B}" type="parTrans" cxnId="{E9E6F3A1-1EFB-4141-A71A-D8A00C19CC2C}">
      <dgm:prSet/>
      <dgm:spPr/>
      <dgm:t>
        <a:bodyPr/>
        <a:lstStyle/>
        <a:p>
          <a:endParaRPr lang="nl-NL"/>
        </a:p>
      </dgm:t>
    </dgm:pt>
    <dgm:pt modelId="{9CDA2A5C-76E3-47D3-B514-C20D634D4B13}" type="sibTrans" cxnId="{E9E6F3A1-1EFB-4141-A71A-D8A00C19CC2C}">
      <dgm:prSet/>
      <dgm:spPr/>
      <dgm:t>
        <a:bodyPr/>
        <a:lstStyle/>
        <a:p>
          <a:endParaRPr lang="nl-NL"/>
        </a:p>
      </dgm:t>
    </dgm:pt>
    <dgm:pt modelId="{A0187C38-C525-49CA-89C4-431173B21DB1}">
      <dgm:prSet custT="1"/>
      <dgm:spPr/>
      <dgm:t>
        <a:bodyPr/>
        <a:lstStyle/>
        <a:p>
          <a:r>
            <a:rPr lang="en-US" sz="900" b="1" dirty="0"/>
            <a:t>Sea</a:t>
          </a:r>
          <a:r>
            <a:rPr lang="en-US" sz="900" dirty="0"/>
            <a:t> (LCL/FCL)</a:t>
          </a:r>
          <a:endParaRPr lang="nl-NL" sz="900" dirty="0"/>
        </a:p>
      </dgm:t>
    </dgm:pt>
    <dgm:pt modelId="{29E0F077-FE21-4EFE-A3F3-4270996FD84C}" type="parTrans" cxnId="{8664CF6F-ECDD-4DE2-9DCA-0C8A969FDCC6}">
      <dgm:prSet/>
      <dgm:spPr/>
      <dgm:t>
        <a:bodyPr/>
        <a:lstStyle/>
        <a:p>
          <a:endParaRPr lang="nl-NL"/>
        </a:p>
      </dgm:t>
    </dgm:pt>
    <dgm:pt modelId="{64C113BD-0342-4985-B5D7-951781C9A58C}" type="sibTrans" cxnId="{8664CF6F-ECDD-4DE2-9DCA-0C8A969FDCC6}">
      <dgm:prSet/>
      <dgm:spPr/>
      <dgm:t>
        <a:bodyPr/>
        <a:lstStyle/>
        <a:p>
          <a:endParaRPr lang="nl-NL"/>
        </a:p>
      </dgm:t>
    </dgm:pt>
    <dgm:pt modelId="{AD40686E-E3FC-4AAE-94A7-26E1532CB667}">
      <dgm:prSet custT="1"/>
      <dgm:spPr/>
      <dgm:t>
        <a:bodyPr/>
        <a:lstStyle/>
        <a:p>
          <a:r>
            <a:rPr lang="en-US" sz="900" b="1" dirty="0"/>
            <a:t>Multi-modal</a:t>
          </a:r>
          <a:endParaRPr lang="nl-NL" sz="900" b="1" dirty="0"/>
        </a:p>
      </dgm:t>
    </dgm:pt>
    <dgm:pt modelId="{E37C49F5-C540-4A34-9B85-AD05E4300D5B}" type="parTrans" cxnId="{A5B7710F-200B-4392-A248-78F65D56FE5A}">
      <dgm:prSet/>
      <dgm:spPr/>
      <dgm:t>
        <a:bodyPr/>
        <a:lstStyle/>
        <a:p>
          <a:endParaRPr lang="nl-NL"/>
        </a:p>
      </dgm:t>
    </dgm:pt>
    <dgm:pt modelId="{1BC22B5C-8740-40C0-A025-3B7616A96378}" type="sibTrans" cxnId="{A5B7710F-200B-4392-A248-78F65D56FE5A}">
      <dgm:prSet/>
      <dgm:spPr/>
      <dgm:t>
        <a:bodyPr/>
        <a:lstStyle/>
        <a:p>
          <a:endParaRPr lang="nl-NL"/>
        </a:p>
      </dgm:t>
    </dgm:pt>
    <dgm:pt modelId="{D9B2DC80-F37D-4A6A-A6F6-46C145F46572}">
      <dgm:prSet custT="1"/>
      <dgm:spPr/>
      <dgm:t>
        <a:bodyPr/>
        <a:lstStyle/>
        <a:p>
          <a:r>
            <a:rPr lang="en-US" sz="900" dirty="0"/>
            <a:t>NA Cargo Securement Standard</a:t>
          </a:r>
          <a:endParaRPr lang="nl-NL" sz="900" dirty="0"/>
        </a:p>
      </dgm:t>
    </dgm:pt>
    <dgm:pt modelId="{DC70A2B8-E88D-4881-8C25-258E83A7B40E}" type="parTrans" cxnId="{DC5CD2FB-3089-4D56-A927-3E6935C2B180}">
      <dgm:prSet/>
      <dgm:spPr/>
      <dgm:t>
        <a:bodyPr/>
        <a:lstStyle/>
        <a:p>
          <a:endParaRPr lang="nl-NL"/>
        </a:p>
      </dgm:t>
    </dgm:pt>
    <dgm:pt modelId="{4C8E4E02-F023-4770-9112-32C58E194DFD}" type="sibTrans" cxnId="{DC5CD2FB-3089-4D56-A927-3E6935C2B180}">
      <dgm:prSet/>
      <dgm:spPr/>
      <dgm:t>
        <a:bodyPr/>
        <a:lstStyle/>
        <a:p>
          <a:endParaRPr lang="nl-NL"/>
        </a:p>
      </dgm:t>
    </dgm:pt>
    <dgm:pt modelId="{3D58D058-ABA2-46F8-8647-820F3F29EA2E}">
      <dgm:prSet custT="1"/>
      <dgm:spPr/>
      <dgm:t>
        <a:bodyPr/>
        <a:lstStyle/>
        <a:p>
          <a:r>
            <a:rPr lang="en-US" sz="900"/>
            <a:t> IMO CTU-Code</a:t>
          </a:r>
          <a:endParaRPr lang="nl-NL" sz="900"/>
        </a:p>
      </dgm:t>
    </dgm:pt>
    <dgm:pt modelId="{9622CBDF-E5C1-4E82-A5E3-DE558033B97F}" type="parTrans" cxnId="{B58064EE-4D85-41C9-964F-2E161C7DBF9C}">
      <dgm:prSet/>
      <dgm:spPr/>
      <dgm:t>
        <a:bodyPr/>
        <a:lstStyle/>
        <a:p>
          <a:endParaRPr lang="nl-NL"/>
        </a:p>
      </dgm:t>
    </dgm:pt>
    <dgm:pt modelId="{9EAFF799-B154-4F09-9CE5-13C029A66A28}" type="sibTrans" cxnId="{B58064EE-4D85-41C9-964F-2E161C7DBF9C}">
      <dgm:prSet/>
      <dgm:spPr/>
      <dgm:t>
        <a:bodyPr/>
        <a:lstStyle/>
        <a:p>
          <a:endParaRPr lang="nl-NL"/>
        </a:p>
      </dgm:t>
    </dgm:pt>
    <dgm:pt modelId="{0A27DA80-0E2A-4E6C-9388-D1C11DE49FB5}">
      <dgm:prSet custT="1"/>
      <dgm:spPr/>
      <dgm:t>
        <a:bodyPr/>
        <a:lstStyle/>
        <a:p>
          <a:endParaRPr lang="nl-NL" sz="900"/>
        </a:p>
      </dgm:t>
    </dgm:pt>
    <dgm:pt modelId="{8B831C58-7BE6-4D4F-B926-3D67DAC722CF}" type="parTrans" cxnId="{EE726FBE-8F62-482E-9D38-6B80CF6D6E1D}">
      <dgm:prSet/>
      <dgm:spPr/>
      <dgm:t>
        <a:bodyPr/>
        <a:lstStyle/>
        <a:p>
          <a:endParaRPr lang="nl-NL"/>
        </a:p>
      </dgm:t>
    </dgm:pt>
    <dgm:pt modelId="{0712F7E0-015A-45B5-8E16-E16CCD5836DC}" type="sibTrans" cxnId="{EE726FBE-8F62-482E-9D38-6B80CF6D6E1D}">
      <dgm:prSet/>
      <dgm:spPr/>
      <dgm:t>
        <a:bodyPr/>
        <a:lstStyle/>
        <a:p>
          <a:endParaRPr lang="nl-NL"/>
        </a:p>
      </dgm:t>
    </dgm:pt>
    <dgm:pt modelId="{A0E9819D-149F-4666-8440-B6DAE11585BF}">
      <dgm:prSet phldrT="[Text]"/>
      <dgm:spPr/>
      <dgm:t>
        <a:bodyPr/>
        <a:lstStyle/>
        <a:p>
          <a:endParaRPr lang="nl-NL"/>
        </a:p>
      </dgm:t>
    </dgm:pt>
    <dgm:pt modelId="{A8B9875F-795D-4F50-9250-00BD46656A0B}" type="parTrans" cxnId="{E53C7C01-35AC-4EF7-818F-B53CFFF5987E}">
      <dgm:prSet/>
      <dgm:spPr/>
      <dgm:t>
        <a:bodyPr/>
        <a:lstStyle/>
        <a:p>
          <a:endParaRPr lang="nl-NL"/>
        </a:p>
      </dgm:t>
    </dgm:pt>
    <dgm:pt modelId="{EC5B8574-53B1-4709-8B39-5790BC6252CA}" type="sibTrans" cxnId="{E53C7C01-35AC-4EF7-818F-B53CFFF5987E}">
      <dgm:prSet/>
      <dgm:spPr/>
      <dgm:t>
        <a:bodyPr/>
        <a:lstStyle/>
        <a:p>
          <a:endParaRPr lang="nl-NL"/>
        </a:p>
      </dgm:t>
    </dgm:pt>
    <dgm:pt modelId="{531AB0BA-50E6-486A-9F9B-F9A39714A402}">
      <dgm:prSet/>
      <dgm:spPr/>
      <dgm:t>
        <a:bodyPr/>
        <a:lstStyle/>
        <a:p>
          <a:r>
            <a:rPr lang="en-US" sz="1000"/>
            <a:t>Palletized</a:t>
          </a:r>
          <a:endParaRPr lang="nl-NL" sz="1000"/>
        </a:p>
      </dgm:t>
    </dgm:pt>
    <dgm:pt modelId="{D0783C24-43F3-4C9F-8E07-4CFED8935BAB}" type="parTrans" cxnId="{C48864D5-09FD-4E64-A225-4AC846250A7B}">
      <dgm:prSet/>
      <dgm:spPr/>
      <dgm:t>
        <a:bodyPr/>
        <a:lstStyle/>
        <a:p>
          <a:endParaRPr lang="nl-NL"/>
        </a:p>
      </dgm:t>
    </dgm:pt>
    <dgm:pt modelId="{4AC3B477-7449-4729-B868-51AEF8F16991}" type="sibTrans" cxnId="{C48864D5-09FD-4E64-A225-4AC846250A7B}">
      <dgm:prSet/>
      <dgm:spPr/>
      <dgm:t>
        <a:bodyPr/>
        <a:lstStyle/>
        <a:p>
          <a:endParaRPr lang="nl-NL"/>
        </a:p>
      </dgm:t>
    </dgm:pt>
    <dgm:pt modelId="{B4B701D2-A4FD-4DB5-A2ED-2D99E687AFC0}">
      <dgm:prSet custT="1"/>
      <dgm:spPr/>
      <dgm:t>
        <a:bodyPr/>
        <a:lstStyle/>
        <a:p>
          <a:r>
            <a:rPr lang="en-US" sz="1000" dirty="0"/>
            <a:t>Instructions packaging supplier </a:t>
          </a:r>
          <a:r>
            <a:rPr lang="en-US" sz="900" i="1" dirty="0"/>
            <a:t>or by</a:t>
          </a:r>
          <a:endParaRPr lang="nl-NL" sz="900" i="1" dirty="0"/>
        </a:p>
      </dgm:t>
    </dgm:pt>
    <dgm:pt modelId="{A57E1158-3B98-4203-944F-C6550960310F}" type="parTrans" cxnId="{30B7A9BD-6F41-46F5-88BE-CE2F57D586F1}">
      <dgm:prSet/>
      <dgm:spPr/>
      <dgm:t>
        <a:bodyPr/>
        <a:lstStyle/>
        <a:p>
          <a:endParaRPr lang="nl-NL"/>
        </a:p>
      </dgm:t>
    </dgm:pt>
    <dgm:pt modelId="{71DA8900-D28C-4E84-B06C-2807581D5AD6}" type="sibTrans" cxnId="{30B7A9BD-6F41-46F5-88BE-CE2F57D586F1}">
      <dgm:prSet/>
      <dgm:spPr/>
      <dgm:t>
        <a:bodyPr/>
        <a:lstStyle/>
        <a:p>
          <a:endParaRPr lang="nl-NL"/>
        </a:p>
      </dgm:t>
    </dgm:pt>
    <dgm:pt modelId="{6C78B76E-C12F-4FCF-82C1-06818879ABD4}">
      <dgm:prSet custT="1"/>
      <dgm:spPr/>
      <dgm:t>
        <a:bodyPr/>
        <a:lstStyle/>
        <a:p>
          <a:r>
            <a:rPr lang="en-US" sz="1000" dirty="0"/>
            <a:t>Banding </a:t>
          </a:r>
          <a:r>
            <a:rPr lang="en-US" sz="900" i="1" dirty="0"/>
            <a:t>or by</a:t>
          </a:r>
          <a:endParaRPr lang="nl-NL" sz="900" i="1" dirty="0"/>
        </a:p>
      </dgm:t>
    </dgm:pt>
    <dgm:pt modelId="{BF6CC63E-0715-43FE-93F0-639C4B44D5BB}" type="parTrans" cxnId="{180A8F63-314D-41CE-81BB-F7E9EB85FA3E}">
      <dgm:prSet/>
      <dgm:spPr/>
      <dgm:t>
        <a:bodyPr/>
        <a:lstStyle/>
        <a:p>
          <a:endParaRPr lang="nl-NL"/>
        </a:p>
      </dgm:t>
    </dgm:pt>
    <dgm:pt modelId="{E711A26D-9BDC-4518-B3C8-7C64E36BCDF4}" type="sibTrans" cxnId="{180A8F63-314D-41CE-81BB-F7E9EB85FA3E}">
      <dgm:prSet/>
      <dgm:spPr/>
      <dgm:t>
        <a:bodyPr/>
        <a:lstStyle/>
        <a:p>
          <a:endParaRPr lang="nl-NL"/>
        </a:p>
      </dgm:t>
    </dgm:pt>
    <dgm:pt modelId="{E3A79149-C8EA-485E-B789-65B32301B3C0}">
      <dgm:prSet custT="1"/>
      <dgm:spPr/>
      <dgm:t>
        <a:bodyPr/>
        <a:lstStyle/>
        <a:p>
          <a:r>
            <a:rPr lang="en-US" sz="1000" dirty="0"/>
            <a:t>Strapping </a:t>
          </a:r>
          <a:r>
            <a:rPr lang="en-US" sz="900" i="1" dirty="0"/>
            <a:t>or by</a:t>
          </a:r>
          <a:endParaRPr lang="nl-NL" sz="900" i="1" dirty="0"/>
        </a:p>
      </dgm:t>
    </dgm:pt>
    <dgm:pt modelId="{A2B04DBF-466F-4778-B9F4-05FA375B1722}" type="parTrans" cxnId="{74E2F2EA-0A94-42CD-AFD3-9A9D7A63304B}">
      <dgm:prSet/>
      <dgm:spPr/>
      <dgm:t>
        <a:bodyPr/>
        <a:lstStyle/>
        <a:p>
          <a:endParaRPr lang="nl-NL"/>
        </a:p>
      </dgm:t>
    </dgm:pt>
    <dgm:pt modelId="{43102BC4-EF62-4EB7-834D-D55C025FA5CE}" type="sibTrans" cxnId="{74E2F2EA-0A94-42CD-AFD3-9A9D7A63304B}">
      <dgm:prSet/>
      <dgm:spPr/>
      <dgm:t>
        <a:bodyPr/>
        <a:lstStyle/>
        <a:p>
          <a:endParaRPr lang="nl-NL"/>
        </a:p>
      </dgm:t>
    </dgm:pt>
    <dgm:pt modelId="{F9726158-A830-4F60-8DEA-95CCF3C3D5C6}">
      <dgm:prSet/>
      <dgm:spPr/>
      <dgm:t>
        <a:bodyPr/>
        <a:lstStyle/>
        <a:p>
          <a:r>
            <a:rPr lang="en-US" sz="1000" dirty="0"/>
            <a:t>Stretch/shrink wrapping</a:t>
          </a:r>
          <a:endParaRPr lang="nl-NL" sz="1000" dirty="0"/>
        </a:p>
      </dgm:t>
    </dgm:pt>
    <dgm:pt modelId="{552F8891-CAFA-4496-AC2C-473B0BB9E062}" type="parTrans" cxnId="{3817136C-A9EF-460F-88A7-0BD48699E709}">
      <dgm:prSet/>
      <dgm:spPr/>
      <dgm:t>
        <a:bodyPr/>
        <a:lstStyle/>
        <a:p>
          <a:endParaRPr lang="nl-NL"/>
        </a:p>
      </dgm:t>
    </dgm:pt>
    <dgm:pt modelId="{51DC0299-94E5-4744-A95A-0768BA170253}" type="sibTrans" cxnId="{3817136C-A9EF-460F-88A7-0BD48699E709}">
      <dgm:prSet/>
      <dgm:spPr/>
      <dgm:t>
        <a:bodyPr/>
        <a:lstStyle/>
        <a:p>
          <a:endParaRPr lang="nl-NL"/>
        </a:p>
      </dgm:t>
    </dgm:pt>
    <dgm:pt modelId="{13883AA6-1A40-4B38-8A8B-0D812257F3AA}">
      <dgm:prSet phldrT="[Text]"/>
      <dgm:spPr/>
      <dgm:t>
        <a:bodyPr/>
        <a:lstStyle/>
        <a:p>
          <a:endParaRPr lang="nl-NL"/>
        </a:p>
      </dgm:t>
    </dgm:pt>
    <dgm:pt modelId="{64D0BB6F-A4B2-48F7-9B97-7F8B8E8E60E6}" type="parTrans" cxnId="{780D75DF-E15C-44CA-9AD1-F2620C8D15B5}">
      <dgm:prSet/>
      <dgm:spPr/>
      <dgm:t>
        <a:bodyPr/>
        <a:lstStyle/>
        <a:p>
          <a:endParaRPr lang="nl-NL"/>
        </a:p>
      </dgm:t>
    </dgm:pt>
    <dgm:pt modelId="{A79F39AB-F21F-48B2-AEE2-2E9ABFBE1095}" type="sibTrans" cxnId="{780D75DF-E15C-44CA-9AD1-F2620C8D15B5}">
      <dgm:prSet/>
      <dgm:spPr/>
      <dgm:t>
        <a:bodyPr/>
        <a:lstStyle/>
        <a:p>
          <a:endParaRPr lang="nl-NL"/>
        </a:p>
      </dgm:t>
    </dgm:pt>
    <dgm:pt modelId="{92801307-E047-4684-AD00-2BC3FEA6853D}">
      <dgm:prSet phldrT="[Text]"/>
      <dgm:spPr/>
      <dgm:t>
        <a:bodyPr/>
        <a:lstStyle/>
        <a:p>
          <a:endParaRPr lang="nl-NL"/>
        </a:p>
      </dgm:t>
    </dgm:pt>
    <dgm:pt modelId="{A9DE82FF-4015-41AF-AE08-8323D3721F7E}" type="parTrans" cxnId="{E5D70F2E-CE00-4630-8F8F-9DA8121E350E}">
      <dgm:prSet/>
      <dgm:spPr/>
      <dgm:t>
        <a:bodyPr/>
        <a:lstStyle/>
        <a:p>
          <a:endParaRPr lang="nl-NL"/>
        </a:p>
      </dgm:t>
    </dgm:pt>
    <dgm:pt modelId="{8D3086D8-33FD-4D24-94FF-722812216C7F}" type="sibTrans" cxnId="{E5D70F2E-CE00-4630-8F8F-9DA8121E350E}">
      <dgm:prSet/>
      <dgm:spPr/>
      <dgm:t>
        <a:bodyPr/>
        <a:lstStyle/>
        <a:p>
          <a:endParaRPr lang="nl-NL"/>
        </a:p>
      </dgm:t>
    </dgm:pt>
    <dgm:pt modelId="{15EC6D0C-A49F-4C71-8FF6-30F64A11FFE8}">
      <dgm:prSet phldrT="[Text]"/>
      <dgm:spPr/>
      <dgm:t>
        <a:bodyPr/>
        <a:lstStyle/>
        <a:p>
          <a:endParaRPr lang="nl-NL"/>
        </a:p>
      </dgm:t>
    </dgm:pt>
    <dgm:pt modelId="{40EB7328-976B-4F5E-AF69-B9336D6992B9}" type="parTrans" cxnId="{7BDFF3E9-A9F7-4A16-8D08-4C96516C0DCC}">
      <dgm:prSet/>
      <dgm:spPr/>
      <dgm:t>
        <a:bodyPr/>
        <a:lstStyle/>
        <a:p>
          <a:endParaRPr lang="nl-NL"/>
        </a:p>
      </dgm:t>
    </dgm:pt>
    <dgm:pt modelId="{25D7B6CE-6586-4EF7-8196-713031B4EC42}" type="sibTrans" cxnId="{7BDFF3E9-A9F7-4A16-8D08-4C96516C0DCC}">
      <dgm:prSet/>
      <dgm:spPr/>
      <dgm:t>
        <a:bodyPr/>
        <a:lstStyle/>
        <a:p>
          <a:endParaRPr lang="nl-NL"/>
        </a:p>
      </dgm:t>
    </dgm:pt>
    <dgm:pt modelId="{3CC91067-A5B8-4CA5-BF09-C3DAF24162F3}">
      <dgm:prSet phldrT="[Text]"/>
      <dgm:spPr/>
      <dgm:t>
        <a:bodyPr/>
        <a:lstStyle/>
        <a:p>
          <a:endParaRPr lang="nl-NL"/>
        </a:p>
      </dgm:t>
    </dgm:pt>
    <dgm:pt modelId="{A04A1AB9-CF80-4EFE-8A04-CBFEAC0262BC}" type="parTrans" cxnId="{BBAE2104-3FD7-468C-A8A1-559422014817}">
      <dgm:prSet/>
      <dgm:spPr/>
      <dgm:t>
        <a:bodyPr/>
        <a:lstStyle/>
        <a:p>
          <a:endParaRPr lang="nl-NL"/>
        </a:p>
      </dgm:t>
    </dgm:pt>
    <dgm:pt modelId="{DAD26C36-43B5-4542-84D2-98518807F473}" type="sibTrans" cxnId="{BBAE2104-3FD7-468C-A8A1-559422014817}">
      <dgm:prSet/>
      <dgm:spPr/>
      <dgm:t>
        <a:bodyPr/>
        <a:lstStyle/>
        <a:p>
          <a:endParaRPr lang="nl-NL"/>
        </a:p>
      </dgm:t>
    </dgm:pt>
    <dgm:pt modelId="{39AD5A6F-B123-442C-A238-77845D8EB909}">
      <dgm:prSet custT="1"/>
      <dgm:spPr/>
      <dgm:t>
        <a:bodyPr/>
        <a:lstStyle/>
        <a:p>
          <a:r>
            <a:rPr lang="en-US" sz="900" dirty="0"/>
            <a:t>EU Best Practice Guidelines on Cargo Securing</a:t>
          </a:r>
          <a:endParaRPr lang="nl-NL" sz="900" dirty="0"/>
        </a:p>
      </dgm:t>
    </dgm:pt>
    <dgm:pt modelId="{B57FDED7-9B6F-4FBB-B38E-CD7878BDA187}" type="parTrans" cxnId="{016765D2-7A6C-4F69-B632-569F2CCA475A}">
      <dgm:prSet/>
      <dgm:spPr/>
      <dgm:t>
        <a:bodyPr/>
        <a:lstStyle/>
        <a:p>
          <a:endParaRPr lang="nl-NL"/>
        </a:p>
      </dgm:t>
    </dgm:pt>
    <dgm:pt modelId="{68C656E4-26C8-46D7-969C-125E813A63AA}" type="sibTrans" cxnId="{016765D2-7A6C-4F69-B632-569F2CCA475A}">
      <dgm:prSet/>
      <dgm:spPr/>
      <dgm:t>
        <a:bodyPr/>
        <a:lstStyle/>
        <a:p>
          <a:endParaRPr lang="nl-NL"/>
        </a:p>
      </dgm:t>
    </dgm:pt>
    <dgm:pt modelId="{E79BEAC0-E98A-4750-A0B3-69063CCF4F0C}">
      <dgm:prSet custT="1"/>
      <dgm:spPr/>
      <dgm:t>
        <a:bodyPr/>
        <a:lstStyle/>
        <a:p>
          <a:r>
            <a:rPr lang="en-US" sz="900" dirty="0"/>
            <a:t>Local legislation</a:t>
          </a:r>
          <a:endParaRPr lang="nl-NL" sz="900" dirty="0"/>
        </a:p>
      </dgm:t>
    </dgm:pt>
    <dgm:pt modelId="{5B29DD80-5F75-461E-B630-FA8D3B894A64}" type="parTrans" cxnId="{4453120E-9AFA-4F1B-8278-C16D83E0D90E}">
      <dgm:prSet/>
      <dgm:spPr/>
      <dgm:t>
        <a:bodyPr/>
        <a:lstStyle/>
        <a:p>
          <a:endParaRPr lang="nl-NL"/>
        </a:p>
      </dgm:t>
    </dgm:pt>
    <dgm:pt modelId="{F705FF8D-22BB-47C3-A659-DE7D904ED195}" type="sibTrans" cxnId="{4453120E-9AFA-4F1B-8278-C16D83E0D90E}">
      <dgm:prSet/>
      <dgm:spPr/>
      <dgm:t>
        <a:bodyPr/>
        <a:lstStyle/>
        <a:p>
          <a:endParaRPr lang="nl-NL"/>
        </a:p>
      </dgm:t>
    </dgm:pt>
    <dgm:pt modelId="{9F26129D-3EC1-4257-9151-AC6E3E057CB7}">
      <dgm:prSet custT="1"/>
      <dgm:spPr/>
      <dgm:t>
        <a:bodyPr/>
        <a:lstStyle/>
        <a:p>
          <a:endParaRPr lang="nl-NL" sz="900" dirty="0"/>
        </a:p>
      </dgm:t>
    </dgm:pt>
    <dgm:pt modelId="{C5DFF83A-EB1A-4FC0-B5DF-0332D2A318CF}" type="parTrans" cxnId="{2C9E683E-9660-45A3-9B08-BAFD651B7182}">
      <dgm:prSet/>
      <dgm:spPr/>
      <dgm:t>
        <a:bodyPr/>
        <a:lstStyle/>
        <a:p>
          <a:endParaRPr lang="nl-NL"/>
        </a:p>
      </dgm:t>
    </dgm:pt>
    <dgm:pt modelId="{266FEFCC-22AA-46F4-8B08-CDB8A7668DAC}" type="sibTrans" cxnId="{2C9E683E-9660-45A3-9B08-BAFD651B7182}">
      <dgm:prSet/>
      <dgm:spPr/>
      <dgm:t>
        <a:bodyPr/>
        <a:lstStyle/>
        <a:p>
          <a:endParaRPr lang="nl-NL"/>
        </a:p>
      </dgm:t>
    </dgm:pt>
    <dgm:pt modelId="{B05C846C-9512-4326-85A9-03F4D48EF073}">
      <dgm:prSet custT="1"/>
      <dgm:spPr/>
      <dgm:t>
        <a:bodyPr/>
        <a:lstStyle/>
        <a:p>
          <a:endParaRPr lang="nl-NL" sz="900" dirty="0"/>
        </a:p>
      </dgm:t>
    </dgm:pt>
    <dgm:pt modelId="{F32FC627-D189-4DC0-897C-B3F119457DAA}" type="parTrans" cxnId="{E96E93E5-6E15-4EE3-B8F3-66D784F9E821}">
      <dgm:prSet/>
      <dgm:spPr/>
      <dgm:t>
        <a:bodyPr/>
        <a:lstStyle/>
        <a:p>
          <a:endParaRPr lang="nl-NL"/>
        </a:p>
      </dgm:t>
    </dgm:pt>
    <dgm:pt modelId="{2B477DCB-DF8D-4D63-BADD-6B48937C0F24}" type="sibTrans" cxnId="{E96E93E5-6E15-4EE3-B8F3-66D784F9E821}">
      <dgm:prSet/>
      <dgm:spPr/>
      <dgm:t>
        <a:bodyPr/>
        <a:lstStyle/>
        <a:p>
          <a:endParaRPr lang="nl-NL"/>
        </a:p>
      </dgm:t>
    </dgm:pt>
    <dgm:pt modelId="{18A36FB2-9F1A-463E-886A-7709DB35EEE3}">
      <dgm:prSet/>
      <dgm:spPr/>
      <dgm:t>
        <a:bodyPr/>
        <a:lstStyle/>
        <a:p>
          <a:pPr>
            <a:buFont typeface="+mj-lt"/>
            <a:buAutoNum type="arabicPeriod"/>
          </a:pPr>
          <a:endParaRPr lang="nl-NL"/>
        </a:p>
      </dgm:t>
    </dgm:pt>
    <dgm:pt modelId="{DD9F76F2-EA55-47A0-B381-79837726E715}" type="parTrans" cxnId="{96634076-603B-4BD6-ABB7-510D39E6D8BF}">
      <dgm:prSet/>
      <dgm:spPr/>
      <dgm:t>
        <a:bodyPr/>
        <a:lstStyle/>
        <a:p>
          <a:endParaRPr lang="nl-NL"/>
        </a:p>
      </dgm:t>
    </dgm:pt>
    <dgm:pt modelId="{59B8D3F1-DBB0-4029-BA1C-4824BC4A48FB}" type="sibTrans" cxnId="{96634076-603B-4BD6-ABB7-510D39E6D8BF}">
      <dgm:prSet/>
      <dgm:spPr/>
      <dgm:t>
        <a:bodyPr/>
        <a:lstStyle/>
        <a:p>
          <a:endParaRPr lang="nl-NL"/>
        </a:p>
      </dgm:t>
    </dgm:pt>
    <dgm:pt modelId="{C9ADE0C3-DA50-419C-AC96-3B0087659F8E}">
      <dgm:prSet/>
      <dgm:spPr/>
      <dgm:t>
        <a:bodyPr/>
        <a:lstStyle/>
        <a:p>
          <a:pPr>
            <a:buFont typeface="+mj-lt"/>
            <a:buAutoNum type="arabicPeriod"/>
          </a:pPr>
          <a:endParaRPr lang="nl-NL"/>
        </a:p>
      </dgm:t>
    </dgm:pt>
    <dgm:pt modelId="{E9AA1924-B0DA-47BC-AC50-BF80C1ACA3C1}" type="parTrans" cxnId="{0D8E9FB0-D19E-40FD-9C02-6AB400AEF447}">
      <dgm:prSet/>
      <dgm:spPr/>
      <dgm:t>
        <a:bodyPr/>
        <a:lstStyle/>
        <a:p>
          <a:endParaRPr lang="nl-NL"/>
        </a:p>
      </dgm:t>
    </dgm:pt>
    <dgm:pt modelId="{F3F7D309-635E-4388-9AF4-EA7820489BDA}" type="sibTrans" cxnId="{0D8E9FB0-D19E-40FD-9C02-6AB400AEF447}">
      <dgm:prSet/>
      <dgm:spPr/>
      <dgm:t>
        <a:bodyPr/>
        <a:lstStyle/>
        <a:p>
          <a:endParaRPr lang="nl-NL"/>
        </a:p>
      </dgm:t>
    </dgm:pt>
    <dgm:pt modelId="{18667430-6982-4CE4-85BF-8336216469D2}">
      <dgm:prSet/>
      <dgm:spPr/>
      <dgm:t>
        <a:bodyPr/>
        <a:lstStyle/>
        <a:p>
          <a:pPr>
            <a:buFont typeface="+mj-lt"/>
            <a:buAutoNum type="arabicPeriod"/>
          </a:pPr>
          <a:endParaRPr lang="nl-NL"/>
        </a:p>
      </dgm:t>
    </dgm:pt>
    <dgm:pt modelId="{7477E483-A820-44EC-B301-669A3B0AE730}" type="parTrans" cxnId="{EA18DA68-4C61-4B3B-8D58-1F141576AA0F}">
      <dgm:prSet/>
      <dgm:spPr/>
      <dgm:t>
        <a:bodyPr/>
        <a:lstStyle/>
        <a:p>
          <a:endParaRPr lang="nl-NL"/>
        </a:p>
      </dgm:t>
    </dgm:pt>
    <dgm:pt modelId="{6825D5FD-C6BF-4E6A-8F2B-0F94641A1815}" type="sibTrans" cxnId="{EA18DA68-4C61-4B3B-8D58-1F141576AA0F}">
      <dgm:prSet/>
      <dgm:spPr/>
      <dgm:t>
        <a:bodyPr/>
        <a:lstStyle/>
        <a:p>
          <a:endParaRPr lang="nl-NL"/>
        </a:p>
      </dgm:t>
    </dgm:pt>
    <dgm:pt modelId="{5B2920DF-38B2-4CD7-9A3C-A97DA345C59C}">
      <dgm:prSet/>
      <dgm:spPr/>
      <dgm:t>
        <a:bodyPr/>
        <a:lstStyle/>
        <a:p>
          <a:pPr>
            <a:buFont typeface="+mj-lt"/>
            <a:buAutoNum type="arabicPeriod"/>
          </a:pPr>
          <a:endParaRPr lang="nl-NL"/>
        </a:p>
      </dgm:t>
    </dgm:pt>
    <dgm:pt modelId="{1C06BFA1-8814-4E1D-9952-FDBA6D4DF05D}" type="parTrans" cxnId="{566F3C7F-9C11-44C0-A4C7-B2A45DE3B89F}">
      <dgm:prSet/>
      <dgm:spPr/>
      <dgm:t>
        <a:bodyPr/>
        <a:lstStyle/>
        <a:p>
          <a:endParaRPr lang="nl-NL"/>
        </a:p>
      </dgm:t>
    </dgm:pt>
    <dgm:pt modelId="{491FC057-9210-4EC6-9715-161F9F7ED07D}" type="sibTrans" cxnId="{566F3C7F-9C11-44C0-A4C7-B2A45DE3B89F}">
      <dgm:prSet/>
      <dgm:spPr/>
      <dgm:t>
        <a:bodyPr/>
        <a:lstStyle/>
        <a:p>
          <a:endParaRPr lang="nl-NL"/>
        </a:p>
      </dgm:t>
    </dgm:pt>
    <dgm:pt modelId="{CAA40DF4-6F3C-4343-94A7-81DD95635DA2}">
      <dgm:prSet/>
      <dgm:spPr/>
      <dgm:t>
        <a:bodyPr/>
        <a:lstStyle/>
        <a:p>
          <a:pPr>
            <a:buFont typeface="+mj-lt"/>
            <a:buAutoNum type="arabicPeriod"/>
          </a:pPr>
          <a:endParaRPr lang="nl-NL"/>
        </a:p>
      </dgm:t>
    </dgm:pt>
    <dgm:pt modelId="{00467210-1079-438A-B40D-65FA41FA6710}" type="parTrans" cxnId="{9E2F4DDD-88EE-4FF2-9D36-180C777FCB71}">
      <dgm:prSet/>
      <dgm:spPr/>
      <dgm:t>
        <a:bodyPr/>
        <a:lstStyle/>
        <a:p>
          <a:endParaRPr lang="nl-NL"/>
        </a:p>
      </dgm:t>
    </dgm:pt>
    <dgm:pt modelId="{22D16CA8-5694-4FFB-9CDD-64E4516CA661}" type="sibTrans" cxnId="{9E2F4DDD-88EE-4FF2-9D36-180C777FCB71}">
      <dgm:prSet/>
      <dgm:spPr/>
      <dgm:t>
        <a:bodyPr/>
        <a:lstStyle/>
        <a:p>
          <a:endParaRPr lang="nl-NL"/>
        </a:p>
      </dgm:t>
    </dgm:pt>
    <dgm:pt modelId="{F09B6826-F89E-40C8-8252-561D8141195E}">
      <dgm:prSet/>
      <dgm:spPr/>
      <dgm:t>
        <a:bodyPr/>
        <a:lstStyle/>
        <a:p>
          <a:pPr>
            <a:buFont typeface="+mj-lt"/>
            <a:buAutoNum type="arabicPeriod"/>
          </a:pPr>
          <a:endParaRPr lang="nl-NL"/>
        </a:p>
      </dgm:t>
    </dgm:pt>
    <dgm:pt modelId="{758AD906-D5FC-41D2-919E-0BB2C9C9380A}" type="parTrans" cxnId="{84F67008-A99D-4F28-AEF8-6662F66D33B2}">
      <dgm:prSet/>
      <dgm:spPr/>
      <dgm:t>
        <a:bodyPr/>
        <a:lstStyle/>
        <a:p>
          <a:endParaRPr lang="nl-NL"/>
        </a:p>
      </dgm:t>
    </dgm:pt>
    <dgm:pt modelId="{D122084A-FC72-4C84-9A05-C0A244D04647}" type="sibTrans" cxnId="{84F67008-A99D-4F28-AEF8-6662F66D33B2}">
      <dgm:prSet/>
      <dgm:spPr/>
      <dgm:t>
        <a:bodyPr/>
        <a:lstStyle/>
        <a:p>
          <a:endParaRPr lang="nl-NL"/>
        </a:p>
      </dgm:t>
    </dgm:pt>
    <dgm:pt modelId="{7F8261F6-DFBC-4EF1-ACAF-5A87D6BECD57}">
      <dgm:prSet/>
      <dgm:spPr/>
      <dgm:t>
        <a:bodyPr/>
        <a:lstStyle/>
        <a:p>
          <a:pPr>
            <a:buFont typeface="+mj-lt"/>
            <a:buAutoNum type="arabicPeriod"/>
          </a:pPr>
          <a:endParaRPr lang="nl-NL"/>
        </a:p>
      </dgm:t>
    </dgm:pt>
    <dgm:pt modelId="{86B28A62-BF2A-4BD9-A758-F86342DF2182}" type="parTrans" cxnId="{565208B4-CD95-47D4-A569-CE0FB02E3CCD}">
      <dgm:prSet/>
      <dgm:spPr/>
      <dgm:t>
        <a:bodyPr/>
        <a:lstStyle/>
        <a:p>
          <a:endParaRPr lang="nl-NL"/>
        </a:p>
      </dgm:t>
    </dgm:pt>
    <dgm:pt modelId="{33B33703-CC69-4A29-9BAF-BFF5906133B2}" type="sibTrans" cxnId="{565208B4-CD95-47D4-A569-CE0FB02E3CCD}">
      <dgm:prSet/>
      <dgm:spPr/>
      <dgm:t>
        <a:bodyPr/>
        <a:lstStyle/>
        <a:p>
          <a:endParaRPr lang="nl-NL"/>
        </a:p>
      </dgm:t>
    </dgm:pt>
    <dgm:pt modelId="{C640B35D-CD8B-499B-8EE4-E4D584814311}">
      <dgm:prSet/>
      <dgm:spPr/>
      <dgm:t>
        <a:bodyPr/>
        <a:lstStyle/>
        <a:p>
          <a:pPr>
            <a:buFont typeface="+mj-lt"/>
            <a:buAutoNum type="arabicPeriod"/>
          </a:pPr>
          <a:endParaRPr lang="nl-NL"/>
        </a:p>
      </dgm:t>
    </dgm:pt>
    <dgm:pt modelId="{B006047E-480E-4611-AF51-9DB340484303}" type="parTrans" cxnId="{6B2A484F-613A-4925-93CD-0BCDE0439D9B}">
      <dgm:prSet/>
      <dgm:spPr/>
      <dgm:t>
        <a:bodyPr/>
        <a:lstStyle/>
        <a:p>
          <a:endParaRPr lang="nl-NL"/>
        </a:p>
      </dgm:t>
    </dgm:pt>
    <dgm:pt modelId="{263AC2B9-C82C-49A8-868C-8F0AE817B626}" type="sibTrans" cxnId="{6B2A484F-613A-4925-93CD-0BCDE0439D9B}">
      <dgm:prSet/>
      <dgm:spPr/>
      <dgm:t>
        <a:bodyPr/>
        <a:lstStyle/>
        <a:p>
          <a:endParaRPr lang="nl-NL"/>
        </a:p>
      </dgm:t>
    </dgm:pt>
    <dgm:pt modelId="{97C7A680-1A78-4AD9-BA56-FE137D8865B7}">
      <dgm:prSet/>
      <dgm:spPr/>
      <dgm:t>
        <a:bodyPr/>
        <a:lstStyle/>
        <a:p>
          <a:pPr>
            <a:buFont typeface="+mj-lt"/>
            <a:buAutoNum type="arabicPeriod"/>
          </a:pPr>
          <a:endParaRPr lang="nl-NL"/>
        </a:p>
      </dgm:t>
    </dgm:pt>
    <dgm:pt modelId="{96464E17-0161-46D5-99B2-4AF69478E1D7}" type="parTrans" cxnId="{9FC16760-0A2C-4716-B82C-D8AC44377C1B}">
      <dgm:prSet/>
      <dgm:spPr/>
      <dgm:t>
        <a:bodyPr/>
        <a:lstStyle/>
        <a:p>
          <a:endParaRPr lang="nl-NL"/>
        </a:p>
      </dgm:t>
    </dgm:pt>
    <dgm:pt modelId="{2D5F5C94-DB74-4860-A3D2-D8BBA0BFF0FD}" type="sibTrans" cxnId="{9FC16760-0A2C-4716-B82C-D8AC44377C1B}">
      <dgm:prSet/>
      <dgm:spPr/>
      <dgm:t>
        <a:bodyPr/>
        <a:lstStyle/>
        <a:p>
          <a:endParaRPr lang="nl-NL"/>
        </a:p>
      </dgm:t>
    </dgm:pt>
    <dgm:pt modelId="{3A11D67B-5DC9-468F-9136-277DB984EC41}">
      <dgm:prSet/>
      <dgm:spPr/>
      <dgm:t>
        <a:bodyPr/>
        <a:lstStyle/>
        <a:p>
          <a:pPr>
            <a:buFont typeface="+mj-lt"/>
            <a:buAutoNum type="arabicPeriod"/>
          </a:pPr>
          <a:endParaRPr lang="nl-NL"/>
        </a:p>
      </dgm:t>
    </dgm:pt>
    <dgm:pt modelId="{BF055321-CD5D-4345-9543-2911F87E38E6}" type="parTrans" cxnId="{1653B45B-3E91-4ECA-92E2-0797EF308D61}">
      <dgm:prSet/>
      <dgm:spPr/>
      <dgm:t>
        <a:bodyPr/>
        <a:lstStyle/>
        <a:p>
          <a:endParaRPr lang="nl-NL"/>
        </a:p>
      </dgm:t>
    </dgm:pt>
    <dgm:pt modelId="{9E0D25F1-2461-4147-B8A2-F74FFBDE5C2E}" type="sibTrans" cxnId="{1653B45B-3E91-4ECA-92E2-0797EF308D61}">
      <dgm:prSet/>
      <dgm:spPr/>
      <dgm:t>
        <a:bodyPr/>
        <a:lstStyle/>
        <a:p>
          <a:endParaRPr lang="nl-NL"/>
        </a:p>
      </dgm:t>
    </dgm:pt>
    <dgm:pt modelId="{8E6B5F5F-4636-4754-95EA-86E387D562A6}">
      <dgm:prSet/>
      <dgm:spPr/>
      <dgm:t>
        <a:bodyPr/>
        <a:lstStyle/>
        <a:p>
          <a:pPr>
            <a:buFont typeface="+mj-lt"/>
            <a:buAutoNum type="arabicPeriod"/>
          </a:pPr>
          <a:endParaRPr lang="nl-NL"/>
        </a:p>
      </dgm:t>
    </dgm:pt>
    <dgm:pt modelId="{6B18C845-447E-4030-8510-6D40417699A2}" type="parTrans" cxnId="{A451FAF7-6914-4416-A693-D72DA0B4EA9A}">
      <dgm:prSet/>
      <dgm:spPr/>
      <dgm:t>
        <a:bodyPr/>
        <a:lstStyle/>
        <a:p>
          <a:endParaRPr lang="nl-NL"/>
        </a:p>
      </dgm:t>
    </dgm:pt>
    <dgm:pt modelId="{28F393A1-341B-4A2F-A986-EB8E06A5B698}" type="sibTrans" cxnId="{A451FAF7-6914-4416-A693-D72DA0B4EA9A}">
      <dgm:prSet/>
      <dgm:spPr/>
      <dgm:t>
        <a:bodyPr/>
        <a:lstStyle/>
        <a:p>
          <a:endParaRPr lang="nl-NL"/>
        </a:p>
      </dgm:t>
    </dgm:pt>
    <dgm:pt modelId="{D858E37E-603A-4038-8A90-07B918878C09}">
      <dgm:prSet/>
      <dgm:spPr/>
      <dgm:t>
        <a:bodyPr/>
        <a:lstStyle/>
        <a:p>
          <a:r>
            <a:rPr lang="en-US" sz="1000" dirty="0"/>
            <a:t>Packages secured together and to pallet, in line with pallet dimensions following:</a:t>
          </a:r>
          <a:endParaRPr lang="nl-NL" sz="1000" dirty="0"/>
        </a:p>
      </dgm:t>
    </dgm:pt>
    <dgm:pt modelId="{CD4999E3-6381-4C06-969F-E2CDFD62194C}" type="parTrans" cxnId="{68AF64FA-5A10-49C9-A5BE-61054170AAE3}">
      <dgm:prSet/>
      <dgm:spPr/>
      <dgm:t>
        <a:bodyPr/>
        <a:lstStyle/>
        <a:p>
          <a:endParaRPr lang="nl-NL"/>
        </a:p>
      </dgm:t>
    </dgm:pt>
    <dgm:pt modelId="{890B5B93-3B56-4443-B110-A6DEDF1662C5}" type="sibTrans" cxnId="{68AF64FA-5A10-49C9-A5BE-61054170AAE3}">
      <dgm:prSet/>
      <dgm:spPr/>
      <dgm:t>
        <a:bodyPr/>
        <a:lstStyle/>
        <a:p>
          <a:endParaRPr lang="nl-NL"/>
        </a:p>
      </dgm:t>
    </dgm:pt>
    <dgm:pt modelId="{6F155B8B-43A5-4066-B1A1-A090E07FAA1E}">
      <dgm:prSet phldrT="[Text]"/>
      <dgm:spPr/>
      <dgm:t>
        <a:bodyPr/>
        <a:lstStyle/>
        <a:p>
          <a:endParaRPr lang="nl-NL"/>
        </a:p>
      </dgm:t>
    </dgm:pt>
    <dgm:pt modelId="{3BA2CD52-9A2F-458A-B61D-45EB539A1040}" type="parTrans" cxnId="{ECE51BA4-3A37-4F05-AF34-6B559B050D4C}">
      <dgm:prSet/>
      <dgm:spPr/>
      <dgm:t>
        <a:bodyPr/>
        <a:lstStyle/>
        <a:p>
          <a:endParaRPr lang="nl-NL"/>
        </a:p>
      </dgm:t>
    </dgm:pt>
    <dgm:pt modelId="{91BCA701-181D-4F8E-A616-4783CFF91551}" type="sibTrans" cxnId="{ECE51BA4-3A37-4F05-AF34-6B559B050D4C}">
      <dgm:prSet/>
      <dgm:spPr/>
      <dgm:t>
        <a:bodyPr/>
        <a:lstStyle/>
        <a:p>
          <a:endParaRPr lang="nl-NL"/>
        </a:p>
      </dgm:t>
    </dgm:pt>
    <dgm:pt modelId="{7789D9D9-2855-4CDC-87C0-9619DD59B737}">
      <dgm:prSet phldrT="[Text]"/>
      <dgm:spPr/>
      <dgm:t>
        <a:bodyPr/>
        <a:lstStyle/>
        <a:p>
          <a:endParaRPr lang="nl-NL"/>
        </a:p>
      </dgm:t>
    </dgm:pt>
    <dgm:pt modelId="{653944EA-9F9A-4FD0-A498-B807A094108B}" type="parTrans" cxnId="{46F685CC-D7EE-4D79-8A5B-47BB3A4040C5}">
      <dgm:prSet/>
      <dgm:spPr/>
      <dgm:t>
        <a:bodyPr/>
        <a:lstStyle/>
        <a:p>
          <a:endParaRPr lang="nl-NL"/>
        </a:p>
      </dgm:t>
    </dgm:pt>
    <dgm:pt modelId="{937713DB-C6F3-4B32-8A75-C19ECBAF5FB4}" type="sibTrans" cxnId="{46F685CC-D7EE-4D79-8A5B-47BB3A4040C5}">
      <dgm:prSet/>
      <dgm:spPr/>
      <dgm:t>
        <a:bodyPr/>
        <a:lstStyle/>
        <a:p>
          <a:endParaRPr lang="nl-NL"/>
        </a:p>
      </dgm:t>
    </dgm:pt>
    <dgm:pt modelId="{520B9E88-9D06-4466-B098-FF62FC9C2D61}">
      <dgm:prSet phldrT="[Text]"/>
      <dgm:spPr/>
      <dgm:t>
        <a:bodyPr/>
        <a:lstStyle/>
        <a:p>
          <a:endParaRPr lang="nl-NL"/>
        </a:p>
      </dgm:t>
    </dgm:pt>
    <dgm:pt modelId="{566102B4-D1CA-4A81-89E5-E06331313F8D}" type="parTrans" cxnId="{F4B64971-EA3C-413A-B0F1-71157A1D276F}">
      <dgm:prSet/>
      <dgm:spPr/>
      <dgm:t>
        <a:bodyPr/>
        <a:lstStyle/>
        <a:p>
          <a:endParaRPr lang="nl-NL"/>
        </a:p>
      </dgm:t>
    </dgm:pt>
    <dgm:pt modelId="{85DF8206-C3A2-4FC8-AA70-0FABB57C5935}" type="sibTrans" cxnId="{F4B64971-EA3C-413A-B0F1-71157A1D276F}">
      <dgm:prSet/>
      <dgm:spPr/>
      <dgm:t>
        <a:bodyPr/>
        <a:lstStyle/>
        <a:p>
          <a:endParaRPr lang="nl-NL"/>
        </a:p>
      </dgm:t>
    </dgm:pt>
    <dgm:pt modelId="{13F4383F-2AD5-4C41-B8FD-B706DEF81924}">
      <dgm:prSet phldrT="[Text]"/>
      <dgm:spPr/>
      <dgm:t>
        <a:bodyPr/>
        <a:lstStyle/>
        <a:p>
          <a:endParaRPr lang="nl-NL"/>
        </a:p>
      </dgm:t>
    </dgm:pt>
    <dgm:pt modelId="{1C14CECC-D46E-4B63-AF30-05C0BDFA9437}" type="parTrans" cxnId="{916EAE11-B810-4F20-A6C0-4B934AB202E7}">
      <dgm:prSet/>
      <dgm:spPr/>
      <dgm:t>
        <a:bodyPr/>
        <a:lstStyle/>
        <a:p>
          <a:endParaRPr lang="nl-NL"/>
        </a:p>
      </dgm:t>
    </dgm:pt>
    <dgm:pt modelId="{CC3C16D6-72B5-4B26-8D38-889E957537CB}" type="sibTrans" cxnId="{916EAE11-B810-4F20-A6C0-4B934AB202E7}">
      <dgm:prSet/>
      <dgm:spPr/>
      <dgm:t>
        <a:bodyPr/>
        <a:lstStyle/>
        <a:p>
          <a:endParaRPr lang="nl-NL"/>
        </a:p>
      </dgm:t>
    </dgm:pt>
    <dgm:pt modelId="{8BC35B2A-D29B-4347-AB89-3E2A23CC38CC}">
      <dgm:prSet phldrT="[Text]"/>
      <dgm:spPr/>
      <dgm:t>
        <a:bodyPr/>
        <a:lstStyle/>
        <a:p>
          <a:endParaRPr lang="nl-NL"/>
        </a:p>
      </dgm:t>
    </dgm:pt>
    <dgm:pt modelId="{18BBA379-26A2-4DD1-B6F0-4D108AB4F445}" type="parTrans" cxnId="{06DC1DEC-B098-498E-84D6-595CD20AD188}">
      <dgm:prSet/>
      <dgm:spPr/>
      <dgm:t>
        <a:bodyPr/>
        <a:lstStyle/>
        <a:p>
          <a:endParaRPr lang="nl-NL"/>
        </a:p>
      </dgm:t>
    </dgm:pt>
    <dgm:pt modelId="{0CD72317-2650-4E31-A04F-7FD52D162336}" type="sibTrans" cxnId="{06DC1DEC-B098-498E-84D6-595CD20AD188}">
      <dgm:prSet/>
      <dgm:spPr/>
      <dgm:t>
        <a:bodyPr/>
        <a:lstStyle/>
        <a:p>
          <a:endParaRPr lang="nl-NL"/>
        </a:p>
      </dgm:t>
    </dgm:pt>
    <dgm:pt modelId="{F052B028-3C62-4E68-8822-1F1999C61D45}">
      <dgm:prSet phldrT="[Text]"/>
      <dgm:spPr/>
      <dgm:t>
        <a:bodyPr/>
        <a:lstStyle/>
        <a:p>
          <a:endParaRPr lang="nl-NL"/>
        </a:p>
      </dgm:t>
    </dgm:pt>
    <dgm:pt modelId="{4ECE788C-E43B-4B14-ABCA-8A2763467BF1}" type="parTrans" cxnId="{1BE8621B-AC74-480B-B566-0B7C78960AEB}">
      <dgm:prSet/>
      <dgm:spPr/>
      <dgm:t>
        <a:bodyPr/>
        <a:lstStyle/>
        <a:p>
          <a:endParaRPr lang="nl-NL"/>
        </a:p>
      </dgm:t>
    </dgm:pt>
    <dgm:pt modelId="{D7F3E95D-FB59-4136-AA1C-EEB3F2994D35}" type="sibTrans" cxnId="{1BE8621B-AC74-480B-B566-0B7C78960AEB}">
      <dgm:prSet/>
      <dgm:spPr/>
      <dgm:t>
        <a:bodyPr/>
        <a:lstStyle/>
        <a:p>
          <a:endParaRPr lang="nl-NL"/>
        </a:p>
      </dgm:t>
    </dgm:pt>
    <dgm:pt modelId="{95E46436-7894-47FF-9279-15D47155E6CB}">
      <dgm:prSet phldrT="[Text]"/>
      <dgm:spPr/>
      <dgm:t>
        <a:bodyPr/>
        <a:lstStyle/>
        <a:p>
          <a:endParaRPr lang="nl-NL"/>
        </a:p>
      </dgm:t>
    </dgm:pt>
    <dgm:pt modelId="{5A3E7ED4-D2EB-43E5-896E-45147E4E1AF1}" type="parTrans" cxnId="{8F6AA7A1-6BB5-4C82-BF7C-B261FCD0852F}">
      <dgm:prSet/>
      <dgm:spPr/>
      <dgm:t>
        <a:bodyPr/>
        <a:lstStyle/>
        <a:p>
          <a:endParaRPr lang="nl-NL"/>
        </a:p>
      </dgm:t>
    </dgm:pt>
    <dgm:pt modelId="{27F783D8-139F-46E1-A954-CB6A599853C5}" type="sibTrans" cxnId="{8F6AA7A1-6BB5-4C82-BF7C-B261FCD0852F}">
      <dgm:prSet/>
      <dgm:spPr/>
      <dgm:t>
        <a:bodyPr/>
        <a:lstStyle/>
        <a:p>
          <a:endParaRPr lang="nl-NL"/>
        </a:p>
      </dgm:t>
    </dgm:pt>
    <dgm:pt modelId="{B9917DAD-045A-4F56-8F10-F238F67FBD27}">
      <dgm:prSet phldrT="[Text]"/>
      <dgm:spPr/>
      <dgm:t>
        <a:bodyPr/>
        <a:lstStyle/>
        <a:p>
          <a:endParaRPr lang="nl-NL"/>
        </a:p>
      </dgm:t>
    </dgm:pt>
    <dgm:pt modelId="{58242E92-A186-4A96-8EAA-3D740398024F}" type="parTrans" cxnId="{C49E498E-4774-4861-995A-BC24BF2CB074}">
      <dgm:prSet/>
      <dgm:spPr/>
      <dgm:t>
        <a:bodyPr/>
        <a:lstStyle/>
        <a:p>
          <a:endParaRPr lang="nl-NL"/>
        </a:p>
      </dgm:t>
    </dgm:pt>
    <dgm:pt modelId="{E20D6842-7850-4AEB-9F7F-CEDD00BE4049}" type="sibTrans" cxnId="{C49E498E-4774-4861-995A-BC24BF2CB074}">
      <dgm:prSet/>
      <dgm:spPr/>
      <dgm:t>
        <a:bodyPr/>
        <a:lstStyle/>
        <a:p>
          <a:endParaRPr lang="nl-NL"/>
        </a:p>
      </dgm:t>
    </dgm:pt>
    <dgm:pt modelId="{2D46BED6-3BAD-4540-B057-A056CEE99799}">
      <dgm:prSet phldrT="[Text]"/>
      <dgm:spPr/>
      <dgm:t>
        <a:bodyPr/>
        <a:lstStyle/>
        <a:p>
          <a:endParaRPr lang="nl-NL"/>
        </a:p>
      </dgm:t>
    </dgm:pt>
    <dgm:pt modelId="{D4F6708B-B159-4C12-B594-BDD5FD4A485F}" type="parTrans" cxnId="{894F74C2-5352-4D45-A41C-E1F83358AE7A}">
      <dgm:prSet/>
      <dgm:spPr/>
      <dgm:t>
        <a:bodyPr/>
        <a:lstStyle/>
        <a:p>
          <a:endParaRPr lang="nl-NL"/>
        </a:p>
      </dgm:t>
    </dgm:pt>
    <dgm:pt modelId="{92198964-7565-4516-9F95-B7ABD06EB44E}" type="sibTrans" cxnId="{894F74C2-5352-4D45-A41C-E1F83358AE7A}">
      <dgm:prSet/>
      <dgm:spPr/>
      <dgm:t>
        <a:bodyPr/>
        <a:lstStyle/>
        <a:p>
          <a:endParaRPr lang="nl-NL"/>
        </a:p>
      </dgm:t>
    </dgm:pt>
    <dgm:pt modelId="{540DCC61-19C5-40EF-AF04-8CB8C8B66E5C}">
      <dgm:prSet phldrT="[Text]"/>
      <dgm:spPr/>
      <dgm:t>
        <a:bodyPr/>
        <a:lstStyle/>
        <a:p>
          <a:endParaRPr lang="nl-NL"/>
        </a:p>
      </dgm:t>
    </dgm:pt>
    <dgm:pt modelId="{1CDF44C1-CAFE-48D8-A095-A260022DCA63}" type="parTrans" cxnId="{28923069-64A7-424A-B699-A2EC752C4151}">
      <dgm:prSet/>
      <dgm:spPr/>
      <dgm:t>
        <a:bodyPr/>
        <a:lstStyle/>
        <a:p>
          <a:endParaRPr lang="nl-NL"/>
        </a:p>
      </dgm:t>
    </dgm:pt>
    <dgm:pt modelId="{0E9028E1-0DDF-442C-8D5C-3D4E5560FEE7}" type="sibTrans" cxnId="{28923069-64A7-424A-B699-A2EC752C4151}">
      <dgm:prSet/>
      <dgm:spPr/>
      <dgm:t>
        <a:bodyPr/>
        <a:lstStyle/>
        <a:p>
          <a:endParaRPr lang="nl-NL"/>
        </a:p>
      </dgm:t>
    </dgm:pt>
    <dgm:pt modelId="{68A2CF2C-4B6F-4859-B16A-69D38669E17E}">
      <dgm:prSet phldrT="[Text]"/>
      <dgm:spPr/>
      <dgm:t>
        <a:bodyPr/>
        <a:lstStyle/>
        <a:p>
          <a:endParaRPr lang="nl-NL"/>
        </a:p>
      </dgm:t>
    </dgm:pt>
    <dgm:pt modelId="{7AF95D56-6A3D-46A9-B875-A04EB89B8F93}" type="parTrans" cxnId="{1807EFF6-F641-44C8-8A60-41FB6217A4D1}">
      <dgm:prSet/>
      <dgm:spPr/>
      <dgm:t>
        <a:bodyPr/>
        <a:lstStyle/>
        <a:p>
          <a:endParaRPr lang="nl-NL"/>
        </a:p>
      </dgm:t>
    </dgm:pt>
    <dgm:pt modelId="{371DAC4E-180E-4C3A-8133-82E6D2BBA128}" type="sibTrans" cxnId="{1807EFF6-F641-44C8-8A60-41FB6217A4D1}">
      <dgm:prSet/>
      <dgm:spPr/>
      <dgm:t>
        <a:bodyPr/>
        <a:lstStyle/>
        <a:p>
          <a:endParaRPr lang="nl-NL"/>
        </a:p>
      </dgm:t>
    </dgm:pt>
    <dgm:pt modelId="{D8E6175F-EE33-47B2-8847-7DD3930762A4}">
      <dgm:prSet phldrT="[Text]"/>
      <dgm:spPr/>
      <dgm:t>
        <a:bodyPr/>
        <a:lstStyle/>
        <a:p>
          <a:endParaRPr lang="nl-NL"/>
        </a:p>
      </dgm:t>
    </dgm:pt>
    <dgm:pt modelId="{E1BB0C58-856D-4D95-B912-601BB989D1E8}" type="parTrans" cxnId="{AA4308C1-3F0F-4482-A8BE-A7B6B407B9CC}">
      <dgm:prSet/>
      <dgm:spPr/>
      <dgm:t>
        <a:bodyPr/>
        <a:lstStyle/>
        <a:p>
          <a:endParaRPr lang="nl-NL"/>
        </a:p>
      </dgm:t>
    </dgm:pt>
    <dgm:pt modelId="{EB6D3CD6-B0CB-4AD0-A06D-0017D032B6EE}" type="sibTrans" cxnId="{AA4308C1-3F0F-4482-A8BE-A7B6B407B9CC}">
      <dgm:prSet/>
      <dgm:spPr/>
      <dgm:t>
        <a:bodyPr/>
        <a:lstStyle/>
        <a:p>
          <a:endParaRPr lang="nl-NL"/>
        </a:p>
      </dgm:t>
    </dgm:pt>
    <dgm:pt modelId="{31A5801F-C7AA-4CA9-BD81-2C4C838D591A}">
      <dgm:prSet phldrT="[Text]"/>
      <dgm:spPr/>
      <dgm:t>
        <a:bodyPr/>
        <a:lstStyle/>
        <a:p>
          <a:endParaRPr lang="nl-NL"/>
        </a:p>
      </dgm:t>
    </dgm:pt>
    <dgm:pt modelId="{781E93AF-4F6C-42D0-B404-D757EF129EFB}" type="parTrans" cxnId="{702A3A2E-7068-4E9F-ABB9-3F88878A9F8E}">
      <dgm:prSet/>
      <dgm:spPr/>
      <dgm:t>
        <a:bodyPr/>
        <a:lstStyle/>
        <a:p>
          <a:endParaRPr lang="nl-NL"/>
        </a:p>
      </dgm:t>
    </dgm:pt>
    <dgm:pt modelId="{E9E0D192-845A-473C-8614-C8218733E94A}" type="sibTrans" cxnId="{702A3A2E-7068-4E9F-ABB9-3F88878A9F8E}">
      <dgm:prSet/>
      <dgm:spPr/>
      <dgm:t>
        <a:bodyPr/>
        <a:lstStyle/>
        <a:p>
          <a:endParaRPr lang="nl-NL"/>
        </a:p>
      </dgm:t>
    </dgm:pt>
    <dgm:pt modelId="{785B213D-B530-4DBC-AB0A-A1B36AF8675F}">
      <dgm:prSet phldrT="[Text]"/>
      <dgm:spPr/>
      <dgm:t>
        <a:bodyPr/>
        <a:lstStyle/>
        <a:p>
          <a:endParaRPr lang="nl-NL"/>
        </a:p>
      </dgm:t>
    </dgm:pt>
    <dgm:pt modelId="{F96926C9-E7E5-4261-B545-FD0CA2881E3A}" type="parTrans" cxnId="{FC0EEC6A-AE61-4C4E-9167-6B7D9825C546}">
      <dgm:prSet/>
      <dgm:spPr/>
      <dgm:t>
        <a:bodyPr/>
        <a:lstStyle/>
        <a:p>
          <a:endParaRPr lang="nl-NL"/>
        </a:p>
      </dgm:t>
    </dgm:pt>
    <dgm:pt modelId="{16D01FAA-F3A7-4656-BD3E-5209F10458DA}" type="sibTrans" cxnId="{FC0EEC6A-AE61-4C4E-9167-6B7D9825C546}">
      <dgm:prSet/>
      <dgm:spPr/>
      <dgm:t>
        <a:bodyPr/>
        <a:lstStyle/>
        <a:p>
          <a:endParaRPr lang="nl-NL"/>
        </a:p>
      </dgm:t>
    </dgm:pt>
    <dgm:pt modelId="{CCD3FB6C-F68F-4998-8A7B-93F336528755}">
      <dgm:prSet phldrT="[Text]"/>
      <dgm:spPr/>
      <dgm:t>
        <a:bodyPr/>
        <a:lstStyle/>
        <a:p>
          <a:endParaRPr lang="nl-NL"/>
        </a:p>
      </dgm:t>
    </dgm:pt>
    <dgm:pt modelId="{52D1D164-BDCC-44A1-B822-34530FEABEA5}" type="parTrans" cxnId="{A63982F8-E20F-4324-BD17-311A6A2A4785}">
      <dgm:prSet/>
      <dgm:spPr/>
      <dgm:t>
        <a:bodyPr/>
        <a:lstStyle/>
        <a:p>
          <a:endParaRPr lang="nl-NL"/>
        </a:p>
      </dgm:t>
    </dgm:pt>
    <dgm:pt modelId="{91A99A83-E9F7-4BE0-9C5E-755450BD2CC0}" type="sibTrans" cxnId="{A63982F8-E20F-4324-BD17-311A6A2A4785}">
      <dgm:prSet/>
      <dgm:spPr/>
      <dgm:t>
        <a:bodyPr/>
        <a:lstStyle/>
        <a:p>
          <a:endParaRPr lang="nl-NL"/>
        </a:p>
      </dgm:t>
    </dgm:pt>
    <dgm:pt modelId="{9348939B-5720-4D0B-9957-EB67AB0F246F}">
      <dgm:prSet phldrT="[Text]"/>
      <dgm:spPr/>
      <dgm:t>
        <a:bodyPr/>
        <a:lstStyle/>
        <a:p>
          <a:endParaRPr lang="nl-NL"/>
        </a:p>
      </dgm:t>
    </dgm:pt>
    <dgm:pt modelId="{DC9F2D2D-82CF-4DB9-8D33-86D54FE19177}" type="parTrans" cxnId="{173D230D-F6B9-47ED-8217-2C7D4F4CA4B8}">
      <dgm:prSet/>
      <dgm:spPr/>
      <dgm:t>
        <a:bodyPr/>
        <a:lstStyle/>
        <a:p>
          <a:endParaRPr lang="nl-NL"/>
        </a:p>
      </dgm:t>
    </dgm:pt>
    <dgm:pt modelId="{CA8E8619-3300-4CB1-8D75-B1BA8B261178}" type="sibTrans" cxnId="{173D230D-F6B9-47ED-8217-2C7D4F4CA4B8}">
      <dgm:prSet/>
      <dgm:spPr/>
      <dgm:t>
        <a:bodyPr/>
        <a:lstStyle/>
        <a:p>
          <a:endParaRPr lang="nl-NL"/>
        </a:p>
      </dgm:t>
    </dgm:pt>
    <dgm:pt modelId="{4C88E423-743D-4C5F-A768-8ACDC3F3021D}">
      <dgm:prSet phldrT="[Text]"/>
      <dgm:spPr/>
      <dgm:t>
        <a:bodyPr/>
        <a:lstStyle/>
        <a:p>
          <a:endParaRPr lang="nl-NL"/>
        </a:p>
      </dgm:t>
    </dgm:pt>
    <dgm:pt modelId="{8F80AC61-F38B-4A11-A36E-B7D70210C0E3}" type="parTrans" cxnId="{5378164F-00CE-4CFF-8039-70B63EDCABBB}">
      <dgm:prSet/>
      <dgm:spPr/>
      <dgm:t>
        <a:bodyPr/>
        <a:lstStyle/>
        <a:p>
          <a:endParaRPr lang="nl-NL"/>
        </a:p>
      </dgm:t>
    </dgm:pt>
    <dgm:pt modelId="{CCE8C3F8-6E61-4EA5-93DE-6E64BA975DD3}" type="sibTrans" cxnId="{5378164F-00CE-4CFF-8039-70B63EDCABBB}">
      <dgm:prSet/>
      <dgm:spPr/>
      <dgm:t>
        <a:bodyPr/>
        <a:lstStyle/>
        <a:p>
          <a:endParaRPr lang="nl-NL"/>
        </a:p>
      </dgm:t>
    </dgm:pt>
    <dgm:pt modelId="{D46A45B2-355E-429B-9B2F-87EDE9944063}">
      <dgm:prSet phldrT="[Text]"/>
      <dgm:spPr/>
      <dgm:t>
        <a:bodyPr/>
        <a:lstStyle/>
        <a:p>
          <a:endParaRPr lang="nl-NL"/>
        </a:p>
      </dgm:t>
    </dgm:pt>
    <dgm:pt modelId="{73E41DC8-725C-4A85-B13E-FCCCDC8CE6E7}" type="parTrans" cxnId="{8562F9E2-C415-430C-BF8C-F18DC286CD49}">
      <dgm:prSet/>
      <dgm:spPr/>
      <dgm:t>
        <a:bodyPr/>
        <a:lstStyle/>
        <a:p>
          <a:endParaRPr lang="nl-NL"/>
        </a:p>
      </dgm:t>
    </dgm:pt>
    <dgm:pt modelId="{12F636AE-1886-445D-8623-A5098E535AE4}" type="sibTrans" cxnId="{8562F9E2-C415-430C-BF8C-F18DC286CD49}">
      <dgm:prSet/>
      <dgm:spPr/>
      <dgm:t>
        <a:bodyPr/>
        <a:lstStyle/>
        <a:p>
          <a:endParaRPr lang="nl-NL"/>
        </a:p>
      </dgm:t>
    </dgm:pt>
    <dgm:pt modelId="{ABD29C45-8BD7-4E19-9E48-E4B938D3541E}">
      <dgm:prSet phldrT="[Text]"/>
      <dgm:spPr/>
      <dgm:t>
        <a:bodyPr/>
        <a:lstStyle/>
        <a:p>
          <a:endParaRPr lang="nl-NL"/>
        </a:p>
      </dgm:t>
    </dgm:pt>
    <dgm:pt modelId="{92EB8B27-1785-4407-B491-A1294D0A5A48}" type="parTrans" cxnId="{BAC60C39-5E0F-425D-BF7E-554CBEDC19D3}">
      <dgm:prSet/>
      <dgm:spPr/>
      <dgm:t>
        <a:bodyPr/>
        <a:lstStyle/>
        <a:p>
          <a:endParaRPr lang="nl-NL"/>
        </a:p>
      </dgm:t>
    </dgm:pt>
    <dgm:pt modelId="{CDB4C482-B75F-489B-832C-0B04F5034CAC}" type="sibTrans" cxnId="{BAC60C39-5E0F-425D-BF7E-554CBEDC19D3}">
      <dgm:prSet/>
      <dgm:spPr/>
      <dgm:t>
        <a:bodyPr/>
        <a:lstStyle/>
        <a:p>
          <a:endParaRPr lang="nl-NL"/>
        </a:p>
      </dgm:t>
    </dgm:pt>
    <dgm:pt modelId="{B4601664-9D93-4B37-AFB9-99EE17CB8D2D}">
      <dgm:prSet phldrT="[Text]"/>
      <dgm:spPr/>
      <dgm:t>
        <a:bodyPr/>
        <a:lstStyle/>
        <a:p>
          <a:endParaRPr lang="nl-NL"/>
        </a:p>
      </dgm:t>
    </dgm:pt>
    <dgm:pt modelId="{D22DA530-1546-4C9A-9B56-0EFA76EE46DA}" type="parTrans" cxnId="{4DEA75B1-69FF-4233-B75C-F1AE61A9EAB2}">
      <dgm:prSet/>
      <dgm:spPr/>
      <dgm:t>
        <a:bodyPr/>
        <a:lstStyle/>
        <a:p>
          <a:endParaRPr lang="nl-NL"/>
        </a:p>
      </dgm:t>
    </dgm:pt>
    <dgm:pt modelId="{B66A7289-B262-4AA3-B78E-735C5306D295}" type="sibTrans" cxnId="{4DEA75B1-69FF-4233-B75C-F1AE61A9EAB2}">
      <dgm:prSet/>
      <dgm:spPr/>
      <dgm:t>
        <a:bodyPr/>
        <a:lstStyle/>
        <a:p>
          <a:endParaRPr lang="nl-NL"/>
        </a:p>
      </dgm:t>
    </dgm:pt>
    <dgm:pt modelId="{1E7B0058-86FE-4B55-A24D-05B48300F2A1}">
      <dgm:prSet phldrT="[Text]"/>
      <dgm:spPr/>
      <dgm:t>
        <a:bodyPr/>
        <a:lstStyle/>
        <a:p>
          <a:endParaRPr lang="nl-NL"/>
        </a:p>
      </dgm:t>
    </dgm:pt>
    <dgm:pt modelId="{3E3CD83E-F638-412F-A722-AC026CE5530C}" type="parTrans" cxnId="{D98C3BE2-D0C8-4A04-9E89-9713271FD629}">
      <dgm:prSet/>
      <dgm:spPr/>
      <dgm:t>
        <a:bodyPr/>
        <a:lstStyle/>
        <a:p>
          <a:endParaRPr lang="nl-NL"/>
        </a:p>
      </dgm:t>
    </dgm:pt>
    <dgm:pt modelId="{E59CBE51-0B08-4DD1-8C63-BD59A3EA398D}" type="sibTrans" cxnId="{D98C3BE2-D0C8-4A04-9E89-9713271FD629}">
      <dgm:prSet/>
      <dgm:spPr/>
      <dgm:t>
        <a:bodyPr/>
        <a:lstStyle/>
        <a:p>
          <a:endParaRPr lang="nl-NL"/>
        </a:p>
      </dgm:t>
    </dgm:pt>
    <dgm:pt modelId="{11D3D32D-31FF-4A61-A7A2-62CB42113FBD}">
      <dgm:prSet phldrT="[Text]"/>
      <dgm:spPr/>
      <dgm:t>
        <a:bodyPr/>
        <a:lstStyle/>
        <a:p>
          <a:endParaRPr lang="nl-NL"/>
        </a:p>
      </dgm:t>
    </dgm:pt>
    <dgm:pt modelId="{13879C2C-7174-44C0-9A2E-F45975309698}" type="parTrans" cxnId="{4D129208-B682-4603-983D-9512C6621866}">
      <dgm:prSet/>
      <dgm:spPr/>
      <dgm:t>
        <a:bodyPr/>
        <a:lstStyle/>
        <a:p>
          <a:endParaRPr lang="nl-NL"/>
        </a:p>
      </dgm:t>
    </dgm:pt>
    <dgm:pt modelId="{330539AD-DD92-4158-9048-E98B4C952CEA}" type="sibTrans" cxnId="{4D129208-B682-4603-983D-9512C6621866}">
      <dgm:prSet/>
      <dgm:spPr/>
      <dgm:t>
        <a:bodyPr/>
        <a:lstStyle/>
        <a:p>
          <a:endParaRPr lang="nl-NL"/>
        </a:p>
      </dgm:t>
    </dgm:pt>
    <dgm:pt modelId="{785987B6-4D71-463C-A3C6-F415DF128447}">
      <dgm:prSet phldrT="[Text]"/>
      <dgm:spPr/>
      <dgm:t>
        <a:bodyPr/>
        <a:lstStyle/>
        <a:p>
          <a:endParaRPr lang="nl-NL"/>
        </a:p>
      </dgm:t>
    </dgm:pt>
    <dgm:pt modelId="{9DFB7157-ECD3-4DA3-9D2A-17FAE2F21069}" type="parTrans" cxnId="{228D146C-03B8-4D49-99BB-810ED1E8BEB2}">
      <dgm:prSet/>
      <dgm:spPr/>
      <dgm:t>
        <a:bodyPr/>
        <a:lstStyle/>
        <a:p>
          <a:endParaRPr lang="nl-NL"/>
        </a:p>
      </dgm:t>
    </dgm:pt>
    <dgm:pt modelId="{172D3805-B069-4277-AF47-AC3F61C9F6CE}" type="sibTrans" cxnId="{228D146C-03B8-4D49-99BB-810ED1E8BEB2}">
      <dgm:prSet/>
      <dgm:spPr/>
      <dgm:t>
        <a:bodyPr/>
        <a:lstStyle/>
        <a:p>
          <a:endParaRPr lang="nl-NL"/>
        </a:p>
      </dgm:t>
    </dgm:pt>
    <dgm:pt modelId="{A4E6F4C0-0595-4D32-A275-5FFB1B6832CF}">
      <dgm:prSet phldrT="[Text]"/>
      <dgm:spPr/>
      <dgm:t>
        <a:bodyPr/>
        <a:lstStyle/>
        <a:p>
          <a:endParaRPr lang="nl-NL"/>
        </a:p>
      </dgm:t>
    </dgm:pt>
    <dgm:pt modelId="{D90CFEE9-60CA-452D-8A31-D93EB9BEF173}" type="parTrans" cxnId="{618A54E5-D93D-4654-B81E-4A8C04A26F82}">
      <dgm:prSet/>
      <dgm:spPr/>
      <dgm:t>
        <a:bodyPr/>
        <a:lstStyle/>
        <a:p>
          <a:endParaRPr lang="nl-NL"/>
        </a:p>
      </dgm:t>
    </dgm:pt>
    <dgm:pt modelId="{8EEE05B9-AAF2-4291-86AF-F72CB4612FA8}" type="sibTrans" cxnId="{618A54E5-D93D-4654-B81E-4A8C04A26F82}">
      <dgm:prSet/>
      <dgm:spPr/>
      <dgm:t>
        <a:bodyPr/>
        <a:lstStyle/>
        <a:p>
          <a:endParaRPr lang="nl-NL"/>
        </a:p>
      </dgm:t>
    </dgm:pt>
    <dgm:pt modelId="{2F91B5FB-CD0C-483C-9DBE-7B7A996EEDD6}">
      <dgm:prSet phldrT="[Text]"/>
      <dgm:spPr/>
      <dgm:t>
        <a:bodyPr/>
        <a:lstStyle/>
        <a:p>
          <a:endParaRPr lang="nl-NL"/>
        </a:p>
      </dgm:t>
    </dgm:pt>
    <dgm:pt modelId="{1D49A71D-E7C7-4116-BB2A-24D450F5039B}" type="parTrans" cxnId="{C32F8CA3-A2AF-4228-91AC-93E7EE6E8A2E}">
      <dgm:prSet/>
      <dgm:spPr/>
      <dgm:t>
        <a:bodyPr/>
        <a:lstStyle/>
        <a:p>
          <a:endParaRPr lang="nl-NL"/>
        </a:p>
      </dgm:t>
    </dgm:pt>
    <dgm:pt modelId="{028EADF7-A635-44C1-9FD9-AA571EAEDD81}" type="sibTrans" cxnId="{C32F8CA3-A2AF-4228-91AC-93E7EE6E8A2E}">
      <dgm:prSet/>
      <dgm:spPr/>
      <dgm:t>
        <a:bodyPr/>
        <a:lstStyle/>
        <a:p>
          <a:endParaRPr lang="nl-NL"/>
        </a:p>
      </dgm:t>
    </dgm:pt>
    <dgm:pt modelId="{0E7BD33F-256F-4FE0-BAAF-0C9059F1E69A}">
      <dgm:prSet phldrT="[Text]"/>
      <dgm:spPr/>
      <dgm:t>
        <a:bodyPr/>
        <a:lstStyle/>
        <a:p>
          <a:endParaRPr lang="nl-NL"/>
        </a:p>
      </dgm:t>
    </dgm:pt>
    <dgm:pt modelId="{0F5C8033-602A-4D56-AEB6-A85CD11FBC0D}" type="parTrans" cxnId="{CC5A11C0-C234-4BF5-8D49-059724164D4F}">
      <dgm:prSet/>
      <dgm:spPr/>
      <dgm:t>
        <a:bodyPr/>
        <a:lstStyle/>
        <a:p>
          <a:endParaRPr lang="nl-NL"/>
        </a:p>
      </dgm:t>
    </dgm:pt>
    <dgm:pt modelId="{59D6C3B2-52E8-4DC6-82AD-21F6D64B2334}" type="sibTrans" cxnId="{CC5A11C0-C234-4BF5-8D49-059724164D4F}">
      <dgm:prSet/>
      <dgm:spPr/>
      <dgm:t>
        <a:bodyPr/>
        <a:lstStyle/>
        <a:p>
          <a:endParaRPr lang="nl-NL"/>
        </a:p>
      </dgm:t>
    </dgm:pt>
    <dgm:pt modelId="{E891FFC9-687C-4089-A455-391C7416FE02}">
      <dgm:prSet phldrT="[Text]"/>
      <dgm:spPr/>
      <dgm:t>
        <a:bodyPr/>
        <a:lstStyle/>
        <a:p>
          <a:endParaRPr lang="nl-NL"/>
        </a:p>
      </dgm:t>
    </dgm:pt>
    <dgm:pt modelId="{4445BC48-35DE-488E-89D1-CDC9676CD923}" type="parTrans" cxnId="{4D10E139-E432-4C13-85D8-7432E5AEBAB4}">
      <dgm:prSet/>
      <dgm:spPr/>
      <dgm:t>
        <a:bodyPr/>
        <a:lstStyle/>
        <a:p>
          <a:endParaRPr lang="nl-NL"/>
        </a:p>
      </dgm:t>
    </dgm:pt>
    <dgm:pt modelId="{0E62053A-F77E-4374-80D7-BC0E8F1098B5}" type="sibTrans" cxnId="{4D10E139-E432-4C13-85D8-7432E5AEBAB4}">
      <dgm:prSet/>
      <dgm:spPr/>
      <dgm:t>
        <a:bodyPr/>
        <a:lstStyle/>
        <a:p>
          <a:endParaRPr lang="nl-NL"/>
        </a:p>
      </dgm:t>
    </dgm:pt>
    <dgm:pt modelId="{60A394DE-8DAC-4BC8-A8B9-D7BB9C6425C8}">
      <dgm:prSet phldrT="[Text]"/>
      <dgm:spPr/>
      <dgm:t>
        <a:bodyPr/>
        <a:lstStyle/>
        <a:p>
          <a:endParaRPr lang="nl-NL"/>
        </a:p>
      </dgm:t>
    </dgm:pt>
    <dgm:pt modelId="{347EC414-A07C-484C-8E6D-B1E06B3C6ADD}" type="parTrans" cxnId="{604FC071-01AC-4708-B873-1B3306E2D552}">
      <dgm:prSet/>
      <dgm:spPr/>
      <dgm:t>
        <a:bodyPr/>
        <a:lstStyle/>
        <a:p>
          <a:endParaRPr lang="nl-NL"/>
        </a:p>
      </dgm:t>
    </dgm:pt>
    <dgm:pt modelId="{BEC4245C-9243-4331-9ABD-12AF9B13F4CB}" type="sibTrans" cxnId="{604FC071-01AC-4708-B873-1B3306E2D552}">
      <dgm:prSet/>
      <dgm:spPr/>
      <dgm:t>
        <a:bodyPr/>
        <a:lstStyle/>
        <a:p>
          <a:endParaRPr lang="nl-NL"/>
        </a:p>
      </dgm:t>
    </dgm:pt>
    <dgm:pt modelId="{6B39AA38-446A-4307-825B-8E3169C2DBA4}">
      <dgm:prSet phldrT="[Text]"/>
      <dgm:spPr/>
      <dgm:t>
        <a:bodyPr/>
        <a:lstStyle/>
        <a:p>
          <a:endParaRPr lang="nl-NL"/>
        </a:p>
      </dgm:t>
    </dgm:pt>
    <dgm:pt modelId="{0AF55F99-C23A-44CB-92E8-6161432610CA}" type="parTrans" cxnId="{973C179C-872F-4013-8AF4-B8D9E8BAB2C9}">
      <dgm:prSet/>
      <dgm:spPr/>
      <dgm:t>
        <a:bodyPr/>
        <a:lstStyle/>
        <a:p>
          <a:endParaRPr lang="nl-NL"/>
        </a:p>
      </dgm:t>
    </dgm:pt>
    <dgm:pt modelId="{CACA52EA-DF19-464B-8E03-0AF660A78230}" type="sibTrans" cxnId="{973C179C-872F-4013-8AF4-B8D9E8BAB2C9}">
      <dgm:prSet/>
      <dgm:spPr/>
      <dgm:t>
        <a:bodyPr/>
        <a:lstStyle/>
        <a:p>
          <a:endParaRPr lang="nl-NL"/>
        </a:p>
      </dgm:t>
    </dgm:pt>
    <dgm:pt modelId="{80D893CC-BCCE-434F-B186-F9443DAB4ABF}">
      <dgm:prSet/>
      <dgm:spPr/>
      <dgm:t>
        <a:bodyPr/>
        <a:lstStyle/>
        <a:p>
          <a:pPr>
            <a:buFont typeface="+mj-lt"/>
            <a:buAutoNum type="arabicPeriod"/>
          </a:pPr>
          <a:endParaRPr lang="nl-NL"/>
        </a:p>
      </dgm:t>
    </dgm:pt>
    <dgm:pt modelId="{5269BCED-0DB3-4156-B0AC-EF05918BFB67}" type="parTrans" cxnId="{3D90401D-DC47-455F-8C78-ADF50F659B20}">
      <dgm:prSet/>
      <dgm:spPr/>
      <dgm:t>
        <a:bodyPr/>
        <a:lstStyle/>
        <a:p>
          <a:endParaRPr lang="nl-NL"/>
        </a:p>
      </dgm:t>
    </dgm:pt>
    <dgm:pt modelId="{1297D345-2153-41B0-935C-5E2847C8D263}" type="sibTrans" cxnId="{3D90401D-DC47-455F-8C78-ADF50F659B20}">
      <dgm:prSet/>
      <dgm:spPr/>
      <dgm:t>
        <a:bodyPr/>
        <a:lstStyle/>
        <a:p>
          <a:endParaRPr lang="nl-NL"/>
        </a:p>
      </dgm:t>
    </dgm:pt>
    <dgm:pt modelId="{F72B70CE-9331-4DC4-977C-6C45F6AB9C19}">
      <dgm:prSet/>
      <dgm:spPr/>
      <dgm:t>
        <a:bodyPr/>
        <a:lstStyle/>
        <a:p>
          <a:pPr>
            <a:buFont typeface="+mj-lt"/>
            <a:buAutoNum type="arabicPeriod"/>
          </a:pPr>
          <a:endParaRPr lang="nl-NL"/>
        </a:p>
      </dgm:t>
    </dgm:pt>
    <dgm:pt modelId="{D32974CF-1B4E-414E-8B93-7A92B5B4DE9A}" type="parTrans" cxnId="{E29912C7-8CBF-4E46-96B8-180791E5279A}">
      <dgm:prSet/>
      <dgm:spPr/>
      <dgm:t>
        <a:bodyPr/>
        <a:lstStyle/>
        <a:p>
          <a:endParaRPr lang="nl-NL"/>
        </a:p>
      </dgm:t>
    </dgm:pt>
    <dgm:pt modelId="{58881517-2AA1-438E-8D5C-AFD04FE75E56}" type="sibTrans" cxnId="{E29912C7-8CBF-4E46-96B8-180791E5279A}">
      <dgm:prSet/>
      <dgm:spPr/>
      <dgm:t>
        <a:bodyPr/>
        <a:lstStyle/>
        <a:p>
          <a:endParaRPr lang="nl-NL"/>
        </a:p>
      </dgm:t>
    </dgm:pt>
    <dgm:pt modelId="{F8719C74-E914-4F51-BD6D-C1C99A2938E3}">
      <dgm:prSet/>
      <dgm:spPr/>
      <dgm:t>
        <a:bodyPr/>
        <a:lstStyle/>
        <a:p>
          <a:pPr>
            <a:buFont typeface="+mj-lt"/>
            <a:buAutoNum type="arabicPeriod"/>
          </a:pPr>
          <a:endParaRPr lang="nl-NL"/>
        </a:p>
      </dgm:t>
    </dgm:pt>
    <dgm:pt modelId="{21B523D1-C43C-43E1-B096-9117CA32F82B}" type="parTrans" cxnId="{65FB9B8B-B63C-4EDE-AA32-64B1EF278EF7}">
      <dgm:prSet/>
      <dgm:spPr/>
      <dgm:t>
        <a:bodyPr/>
        <a:lstStyle/>
        <a:p>
          <a:endParaRPr lang="nl-NL"/>
        </a:p>
      </dgm:t>
    </dgm:pt>
    <dgm:pt modelId="{2B701D2D-F958-4685-84EE-F8A4506A07F3}" type="sibTrans" cxnId="{65FB9B8B-B63C-4EDE-AA32-64B1EF278EF7}">
      <dgm:prSet/>
      <dgm:spPr/>
      <dgm:t>
        <a:bodyPr/>
        <a:lstStyle/>
        <a:p>
          <a:endParaRPr lang="nl-NL"/>
        </a:p>
      </dgm:t>
    </dgm:pt>
    <dgm:pt modelId="{ED23B324-6F6C-418B-A626-ED5D83B33D34}">
      <dgm:prSet/>
      <dgm:spPr/>
      <dgm:t>
        <a:bodyPr/>
        <a:lstStyle/>
        <a:p>
          <a:pPr>
            <a:buFont typeface="+mj-lt"/>
            <a:buAutoNum type="arabicPeriod"/>
          </a:pPr>
          <a:endParaRPr lang="nl-NL"/>
        </a:p>
      </dgm:t>
    </dgm:pt>
    <dgm:pt modelId="{560D1EF3-2CAA-48BF-B116-AF21D421C5B1}" type="parTrans" cxnId="{DE1AC6AB-0148-477D-BB71-2445837F440A}">
      <dgm:prSet/>
      <dgm:spPr/>
      <dgm:t>
        <a:bodyPr/>
        <a:lstStyle/>
        <a:p>
          <a:endParaRPr lang="nl-NL"/>
        </a:p>
      </dgm:t>
    </dgm:pt>
    <dgm:pt modelId="{3A922611-0021-4DFF-B1A8-0567F53BA4CD}" type="sibTrans" cxnId="{DE1AC6AB-0148-477D-BB71-2445837F440A}">
      <dgm:prSet/>
      <dgm:spPr/>
      <dgm:t>
        <a:bodyPr/>
        <a:lstStyle/>
        <a:p>
          <a:endParaRPr lang="nl-NL"/>
        </a:p>
      </dgm:t>
    </dgm:pt>
    <dgm:pt modelId="{30F71264-8255-4F62-9D94-4B86EB3D8A31}">
      <dgm:prSet/>
      <dgm:spPr/>
      <dgm:t>
        <a:bodyPr/>
        <a:lstStyle/>
        <a:p>
          <a:pPr>
            <a:buFont typeface="+mj-lt"/>
            <a:buAutoNum type="arabicPeriod"/>
          </a:pPr>
          <a:endParaRPr lang="nl-NL"/>
        </a:p>
      </dgm:t>
    </dgm:pt>
    <dgm:pt modelId="{316A09EB-C677-472C-B494-382549126A09}" type="parTrans" cxnId="{4BCB1AD5-550B-4007-A315-BE02698B7FD8}">
      <dgm:prSet/>
      <dgm:spPr/>
      <dgm:t>
        <a:bodyPr/>
        <a:lstStyle/>
        <a:p>
          <a:endParaRPr lang="nl-NL"/>
        </a:p>
      </dgm:t>
    </dgm:pt>
    <dgm:pt modelId="{B981D65E-30FE-4177-AE55-982EDB0AB0BF}" type="sibTrans" cxnId="{4BCB1AD5-550B-4007-A315-BE02698B7FD8}">
      <dgm:prSet/>
      <dgm:spPr/>
      <dgm:t>
        <a:bodyPr/>
        <a:lstStyle/>
        <a:p>
          <a:endParaRPr lang="nl-NL"/>
        </a:p>
      </dgm:t>
    </dgm:pt>
    <dgm:pt modelId="{69E7B6DD-9A8E-492E-9571-C6373138651B}">
      <dgm:prSet custT="1"/>
      <dgm:spPr/>
      <dgm:t>
        <a:bodyPr/>
        <a:lstStyle/>
        <a:p>
          <a:endParaRPr lang="nl-NL" sz="900"/>
        </a:p>
      </dgm:t>
    </dgm:pt>
    <dgm:pt modelId="{EDDBC162-9766-4000-BBD7-0A34ECDC5A42}" type="parTrans" cxnId="{793525CC-CC15-4167-839E-EF158A8671C7}">
      <dgm:prSet/>
      <dgm:spPr/>
      <dgm:t>
        <a:bodyPr/>
        <a:lstStyle/>
        <a:p>
          <a:endParaRPr lang="nl-NL"/>
        </a:p>
      </dgm:t>
    </dgm:pt>
    <dgm:pt modelId="{A3E55664-B2CF-40DE-9A17-95AF5E4BDB5A}" type="sibTrans" cxnId="{793525CC-CC15-4167-839E-EF158A8671C7}">
      <dgm:prSet/>
      <dgm:spPr/>
      <dgm:t>
        <a:bodyPr/>
        <a:lstStyle/>
        <a:p>
          <a:endParaRPr lang="nl-NL"/>
        </a:p>
      </dgm:t>
    </dgm:pt>
    <dgm:pt modelId="{E0931004-F8ED-421F-9BBD-1C22EA423511}">
      <dgm:prSet custT="1"/>
      <dgm:spPr/>
      <dgm:t>
        <a:bodyPr/>
        <a:lstStyle/>
        <a:p>
          <a:endParaRPr lang="nl-NL" sz="900" dirty="0"/>
        </a:p>
      </dgm:t>
    </dgm:pt>
    <dgm:pt modelId="{C645AEC4-8F88-4D92-919C-62A8E685B477}" type="parTrans" cxnId="{0723929B-4BAC-4CD2-8D18-E1C8C4478F21}">
      <dgm:prSet/>
      <dgm:spPr/>
      <dgm:t>
        <a:bodyPr/>
        <a:lstStyle/>
        <a:p>
          <a:endParaRPr lang="nl-NL"/>
        </a:p>
      </dgm:t>
    </dgm:pt>
    <dgm:pt modelId="{F70AB24D-B3D3-427A-A6D3-0F83606F03E4}" type="sibTrans" cxnId="{0723929B-4BAC-4CD2-8D18-E1C8C4478F21}">
      <dgm:prSet/>
      <dgm:spPr/>
      <dgm:t>
        <a:bodyPr/>
        <a:lstStyle/>
        <a:p>
          <a:endParaRPr lang="nl-NL"/>
        </a:p>
      </dgm:t>
    </dgm:pt>
    <dgm:pt modelId="{629B1829-3CA1-4CC2-B3AA-22EC04F0275F}">
      <dgm:prSet custT="1"/>
      <dgm:spPr/>
      <dgm:t>
        <a:bodyPr/>
        <a:lstStyle/>
        <a:p>
          <a:endParaRPr lang="nl-NL" sz="900"/>
        </a:p>
      </dgm:t>
    </dgm:pt>
    <dgm:pt modelId="{97B5597C-A289-4799-9D13-2E129EC06ED4}" type="parTrans" cxnId="{4538D533-603F-4BFD-BE1F-E2C2C2FE78ED}">
      <dgm:prSet/>
      <dgm:spPr/>
      <dgm:t>
        <a:bodyPr/>
        <a:lstStyle/>
        <a:p>
          <a:endParaRPr lang="nl-NL"/>
        </a:p>
      </dgm:t>
    </dgm:pt>
    <dgm:pt modelId="{B8ED09A7-C924-4E78-B8E0-01194F3643DF}" type="sibTrans" cxnId="{4538D533-603F-4BFD-BE1F-E2C2C2FE78ED}">
      <dgm:prSet/>
      <dgm:spPr/>
      <dgm:t>
        <a:bodyPr/>
        <a:lstStyle/>
        <a:p>
          <a:endParaRPr lang="nl-NL"/>
        </a:p>
      </dgm:t>
    </dgm:pt>
    <dgm:pt modelId="{AA3E454A-8E65-4D8F-8A55-05F646597625}">
      <dgm:prSet phldrT="[Text]"/>
      <dgm:spPr/>
      <dgm:t>
        <a:bodyPr/>
        <a:lstStyle/>
        <a:p>
          <a:endParaRPr lang="nl-NL"/>
        </a:p>
      </dgm:t>
    </dgm:pt>
    <dgm:pt modelId="{2DA6F321-5964-4F63-A807-B5EEFD1AFE82}" type="parTrans" cxnId="{CB663244-1890-4062-8653-C3EE151ACE29}">
      <dgm:prSet/>
      <dgm:spPr/>
      <dgm:t>
        <a:bodyPr/>
        <a:lstStyle/>
        <a:p>
          <a:endParaRPr lang="nl-NL"/>
        </a:p>
      </dgm:t>
    </dgm:pt>
    <dgm:pt modelId="{2499BFC3-F1BE-4621-8A76-EB86C23B6DD3}" type="sibTrans" cxnId="{CB663244-1890-4062-8653-C3EE151ACE29}">
      <dgm:prSet/>
      <dgm:spPr/>
      <dgm:t>
        <a:bodyPr/>
        <a:lstStyle/>
        <a:p>
          <a:endParaRPr lang="nl-NL"/>
        </a:p>
      </dgm:t>
    </dgm:pt>
    <dgm:pt modelId="{F450832B-AB68-4087-8F1C-5F7DF9FB356B}">
      <dgm:prSet phldrT="[Text]"/>
      <dgm:spPr/>
      <dgm:t>
        <a:bodyPr/>
        <a:lstStyle/>
        <a:p>
          <a:endParaRPr lang="nl-NL"/>
        </a:p>
      </dgm:t>
    </dgm:pt>
    <dgm:pt modelId="{5F816590-C1C0-4135-AB08-E8E31C75B75D}" type="parTrans" cxnId="{62F19E27-95E8-43FE-B4E3-39F650BB5DCE}">
      <dgm:prSet/>
      <dgm:spPr/>
      <dgm:t>
        <a:bodyPr/>
        <a:lstStyle/>
        <a:p>
          <a:endParaRPr lang="nl-NL"/>
        </a:p>
      </dgm:t>
    </dgm:pt>
    <dgm:pt modelId="{CA784D9D-26F4-4D5F-BE43-7C694A141A2B}" type="sibTrans" cxnId="{62F19E27-95E8-43FE-B4E3-39F650BB5DCE}">
      <dgm:prSet/>
      <dgm:spPr/>
      <dgm:t>
        <a:bodyPr/>
        <a:lstStyle/>
        <a:p>
          <a:endParaRPr lang="nl-NL"/>
        </a:p>
      </dgm:t>
    </dgm:pt>
    <dgm:pt modelId="{BBEA2700-5279-4F68-A0A1-021FEB6F96E0}">
      <dgm:prSet custT="1"/>
      <dgm:spPr/>
      <dgm:t>
        <a:bodyPr/>
        <a:lstStyle/>
        <a:p>
          <a:r>
            <a:rPr lang="nl-NL" sz="1000" b="1" dirty="0"/>
            <a:t>Apply standard /practical guidance depending transport mode</a:t>
          </a:r>
        </a:p>
      </dgm:t>
    </dgm:pt>
    <dgm:pt modelId="{2A17AC14-483C-4B08-B34A-ED86BD389BA9}" type="parTrans" cxnId="{921EE9E0-9B9D-4969-9806-9F8646A4F7F9}">
      <dgm:prSet/>
      <dgm:spPr/>
      <dgm:t>
        <a:bodyPr/>
        <a:lstStyle/>
        <a:p>
          <a:endParaRPr lang="en-US"/>
        </a:p>
      </dgm:t>
    </dgm:pt>
    <dgm:pt modelId="{4DDF712D-C70E-4CFA-9C51-1204B8CC2C08}" type="sibTrans" cxnId="{921EE9E0-9B9D-4969-9806-9F8646A4F7F9}">
      <dgm:prSet/>
      <dgm:spPr/>
      <dgm:t>
        <a:bodyPr/>
        <a:lstStyle/>
        <a:p>
          <a:endParaRPr lang="en-US"/>
        </a:p>
      </dgm:t>
    </dgm:pt>
    <dgm:pt modelId="{B2BD9212-6122-4DD0-9FD9-6C3D03552194}">
      <dgm:prSet/>
      <dgm:spPr/>
      <dgm:t>
        <a:bodyPr/>
        <a:lstStyle/>
        <a:p>
          <a:endParaRPr lang="nl-NL" sz="800" b="1" dirty="0"/>
        </a:p>
      </dgm:t>
    </dgm:pt>
    <dgm:pt modelId="{C71F03B9-E2F6-4D8F-993D-23FDAD95B231}" type="parTrans" cxnId="{1B175908-2F72-4FE3-9ADC-C2D15F296985}">
      <dgm:prSet/>
      <dgm:spPr/>
      <dgm:t>
        <a:bodyPr/>
        <a:lstStyle/>
        <a:p>
          <a:endParaRPr lang="en-US"/>
        </a:p>
      </dgm:t>
    </dgm:pt>
    <dgm:pt modelId="{5EA159E9-062F-42EF-801D-D0C47FA9576C}" type="sibTrans" cxnId="{1B175908-2F72-4FE3-9ADC-C2D15F296985}">
      <dgm:prSet/>
      <dgm:spPr/>
      <dgm:t>
        <a:bodyPr/>
        <a:lstStyle/>
        <a:p>
          <a:endParaRPr lang="en-US"/>
        </a:p>
      </dgm:t>
    </dgm:pt>
    <dgm:pt modelId="{EF2AD0F1-B507-4865-87F8-3C26B5151494}">
      <dgm:prSet/>
      <dgm:spPr/>
      <dgm:t>
        <a:bodyPr/>
        <a:lstStyle/>
        <a:p>
          <a:endParaRPr lang="nl-NL" sz="800" b="1" dirty="0"/>
        </a:p>
      </dgm:t>
    </dgm:pt>
    <dgm:pt modelId="{D9C73C36-0209-448D-96B3-65A0983D1ADB}" type="parTrans" cxnId="{08F85543-0AFE-48AF-BB3B-4EFAE314BC46}">
      <dgm:prSet/>
      <dgm:spPr/>
      <dgm:t>
        <a:bodyPr/>
        <a:lstStyle/>
        <a:p>
          <a:endParaRPr lang="en-US"/>
        </a:p>
      </dgm:t>
    </dgm:pt>
    <dgm:pt modelId="{C38E0550-B34A-48A0-A4FE-6C3DBC2F81DC}" type="sibTrans" cxnId="{08F85543-0AFE-48AF-BB3B-4EFAE314BC46}">
      <dgm:prSet/>
      <dgm:spPr/>
      <dgm:t>
        <a:bodyPr/>
        <a:lstStyle/>
        <a:p>
          <a:endParaRPr lang="en-US"/>
        </a:p>
      </dgm:t>
    </dgm:pt>
    <dgm:pt modelId="{EA577BB8-7B6C-4C25-9347-94902F4CB033}">
      <dgm:prSet/>
      <dgm:spPr/>
      <dgm:t>
        <a:bodyPr/>
        <a:lstStyle/>
        <a:p>
          <a:endParaRPr lang="nl-NL" sz="800" b="1" dirty="0"/>
        </a:p>
      </dgm:t>
    </dgm:pt>
    <dgm:pt modelId="{F54A891D-38FF-43BC-B4B3-F8344D176F64}" type="parTrans" cxnId="{7BD96381-C518-4529-866A-2E5E7AF75675}">
      <dgm:prSet/>
      <dgm:spPr/>
      <dgm:t>
        <a:bodyPr/>
        <a:lstStyle/>
        <a:p>
          <a:endParaRPr lang="en-US"/>
        </a:p>
      </dgm:t>
    </dgm:pt>
    <dgm:pt modelId="{6A0A5C7D-4639-41C7-B3E1-1DA43843498F}" type="sibTrans" cxnId="{7BD96381-C518-4529-866A-2E5E7AF75675}">
      <dgm:prSet/>
      <dgm:spPr/>
      <dgm:t>
        <a:bodyPr/>
        <a:lstStyle/>
        <a:p>
          <a:endParaRPr lang="en-US"/>
        </a:p>
      </dgm:t>
    </dgm:pt>
    <dgm:pt modelId="{D68C7B7D-682C-42C0-B60E-4E1AD3DE30FB}">
      <dgm:prSet/>
      <dgm:spPr/>
      <dgm:t>
        <a:bodyPr/>
        <a:lstStyle/>
        <a:p>
          <a:endParaRPr lang="nl-NL" sz="800" b="1" dirty="0"/>
        </a:p>
      </dgm:t>
    </dgm:pt>
    <dgm:pt modelId="{7471E42C-243B-4AEF-8EBB-2568B252B993}" type="parTrans" cxnId="{90B549B9-2F09-4AB2-9D36-57AE793F9D7C}">
      <dgm:prSet/>
      <dgm:spPr/>
      <dgm:t>
        <a:bodyPr/>
        <a:lstStyle/>
        <a:p>
          <a:endParaRPr lang="en-US"/>
        </a:p>
      </dgm:t>
    </dgm:pt>
    <dgm:pt modelId="{C374EB0E-C84F-4655-BADC-31DEA7A9AA05}" type="sibTrans" cxnId="{90B549B9-2F09-4AB2-9D36-57AE793F9D7C}">
      <dgm:prSet/>
      <dgm:spPr/>
      <dgm:t>
        <a:bodyPr/>
        <a:lstStyle/>
        <a:p>
          <a:endParaRPr lang="en-US"/>
        </a:p>
      </dgm:t>
    </dgm:pt>
    <dgm:pt modelId="{8CD4CFD0-A188-4F49-A995-5F130374FA6C}">
      <dgm:prSet/>
      <dgm:spPr/>
      <dgm:t>
        <a:bodyPr/>
        <a:lstStyle/>
        <a:p>
          <a:endParaRPr lang="nl-NL" sz="800" b="1" dirty="0"/>
        </a:p>
      </dgm:t>
    </dgm:pt>
    <dgm:pt modelId="{F8515DE3-A248-4B86-AF48-E34036D46F2D}" type="parTrans" cxnId="{77E67324-73F4-442E-BA40-018E1C807DD4}">
      <dgm:prSet/>
      <dgm:spPr/>
      <dgm:t>
        <a:bodyPr/>
        <a:lstStyle/>
        <a:p>
          <a:endParaRPr lang="en-US"/>
        </a:p>
      </dgm:t>
    </dgm:pt>
    <dgm:pt modelId="{0539AEC7-B409-4EBE-8708-427F8537CF13}" type="sibTrans" cxnId="{77E67324-73F4-442E-BA40-018E1C807DD4}">
      <dgm:prSet/>
      <dgm:spPr/>
      <dgm:t>
        <a:bodyPr/>
        <a:lstStyle/>
        <a:p>
          <a:endParaRPr lang="en-US"/>
        </a:p>
      </dgm:t>
    </dgm:pt>
    <dgm:pt modelId="{0F7BEBB8-E8BF-4B1A-ABF8-36DFDA7128DA}">
      <dgm:prSet custT="1"/>
      <dgm:spPr/>
      <dgm:t>
        <a:bodyPr/>
        <a:lstStyle/>
        <a:p>
          <a:r>
            <a:rPr lang="nl-NL" sz="900" b="0" dirty="0"/>
            <a:t>All above</a:t>
          </a:r>
        </a:p>
      </dgm:t>
    </dgm:pt>
    <dgm:pt modelId="{4EE0C469-9FD0-4BC0-B124-1673524830AB}" type="parTrans" cxnId="{B017A4B5-085F-4FEB-A385-211111E92385}">
      <dgm:prSet/>
      <dgm:spPr/>
      <dgm:t>
        <a:bodyPr/>
        <a:lstStyle/>
        <a:p>
          <a:endParaRPr lang="en-US"/>
        </a:p>
      </dgm:t>
    </dgm:pt>
    <dgm:pt modelId="{B9B7DBC8-21E2-4B82-8706-0F343F3635A3}" type="sibTrans" cxnId="{B017A4B5-085F-4FEB-A385-211111E92385}">
      <dgm:prSet/>
      <dgm:spPr/>
      <dgm:t>
        <a:bodyPr/>
        <a:lstStyle/>
        <a:p>
          <a:endParaRPr lang="en-US"/>
        </a:p>
      </dgm:t>
    </dgm:pt>
    <dgm:pt modelId="{07214D42-65E2-4175-949E-FAC8D69177B2}">
      <dgm:prSet custT="1"/>
      <dgm:spPr/>
      <dgm:t>
        <a:bodyPr/>
        <a:lstStyle/>
        <a:p>
          <a:endParaRPr lang="nl-NL" sz="900" dirty="0"/>
        </a:p>
      </dgm:t>
    </dgm:pt>
    <dgm:pt modelId="{28805552-F9A1-49BA-94C5-5FF35F42D6C9}" type="parTrans" cxnId="{CDFC98EE-0EF0-4187-A1BA-AF6B8EE3947D}">
      <dgm:prSet/>
      <dgm:spPr/>
      <dgm:t>
        <a:bodyPr/>
        <a:lstStyle/>
        <a:p>
          <a:endParaRPr lang="en-US"/>
        </a:p>
      </dgm:t>
    </dgm:pt>
    <dgm:pt modelId="{0261FB28-D3A3-463D-9C67-E6A38484E29B}" type="sibTrans" cxnId="{CDFC98EE-0EF0-4187-A1BA-AF6B8EE3947D}">
      <dgm:prSet/>
      <dgm:spPr/>
      <dgm:t>
        <a:bodyPr/>
        <a:lstStyle/>
        <a:p>
          <a:endParaRPr lang="en-US"/>
        </a:p>
      </dgm:t>
    </dgm:pt>
    <dgm:pt modelId="{DC291E00-E898-49C4-A5F1-2078297180CF}">
      <dgm:prSet custT="1"/>
      <dgm:spPr/>
      <dgm:t>
        <a:bodyPr/>
        <a:lstStyle/>
        <a:p>
          <a:endParaRPr lang="nl-NL" sz="900" dirty="0"/>
        </a:p>
      </dgm:t>
    </dgm:pt>
    <dgm:pt modelId="{8505513C-63CC-4403-AC9E-53FDA876D90B}" type="parTrans" cxnId="{2D90101B-8A04-4A39-9281-B6D6CD5831C9}">
      <dgm:prSet/>
      <dgm:spPr/>
      <dgm:t>
        <a:bodyPr/>
        <a:lstStyle/>
        <a:p>
          <a:endParaRPr lang="en-US"/>
        </a:p>
      </dgm:t>
    </dgm:pt>
    <dgm:pt modelId="{BCD28E93-BB93-4414-B353-C666722819E5}" type="sibTrans" cxnId="{2D90101B-8A04-4A39-9281-B6D6CD5831C9}">
      <dgm:prSet/>
      <dgm:spPr/>
      <dgm:t>
        <a:bodyPr/>
        <a:lstStyle/>
        <a:p>
          <a:endParaRPr lang="en-US"/>
        </a:p>
      </dgm:t>
    </dgm:pt>
    <dgm:pt modelId="{7183C6B3-D2E6-431F-BD8E-5A921DFB8892}" type="pres">
      <dgm:prSet presAssocID="{F36219F5-4E3A-4ED5-AD34-F4D77A918CD9}" presName="linearFlow" presStyleCnt="0">
        <dgm:presLayoutVars>
          <dgm:dir/>
          <dgm:animLvl val="lvl"/>
          <dgm:resizeHandles val="exact"/>
        </dgm:presLayoutVars>
      </dgm:prSet>
      <dgm:spPr/>
    </dgm:pt>
    <dgm:pt modelId="{5B4BB756-C317-4EA0-9F02-A47F40D8D1A4}" type="pres">
      <dgm:prSet presAssocID="{7B55F80F-D03A-49C5-A8D7-9481494C9CF6}" presName="composite" presStyleCnt="0"/>
      <dgm:spPr/>
    </dgm:pt>
    <dgm:pt modelId="{DDDE01ED-CFC5-4356-A354-B1FA2BD7C89B}" type="pres">
      <dgm:prSet presAssocID="{7B55F80F-D03A-49C5-A8D7-9481494C9CF6}" presName="parTx" presStyleLbl="node1" presStyleIdx="0" presStyleCnt="6">
        <dgm:presLayoutVars>
          <dgm:chMax val="0"/>
          <dgm:chPref val="0"/>
          <dgm:bulletEnabled val="1"/>
        </dgm:presLayoutVars>
      </dgm:prSet>
      <dgm:spPr/>
    </dgm:pt>
    <dgm:pt modelId="{162BDA6A-4DB3-4EB3-9861-C7FBE0C310DC}" type="pres">
      <dgm:prSet presAssocID="{7B55F80F-D03A-49C5-A8D7-9481494C9CF6}" presName="parSh" presStyleLbl="node1" presStyleIdx="0" presStyleCnt="6"/>
      <dgm:spPr/>
    </dgm:pt>
    <dgm:pt modelId="{13DD2ECA-B201-4566-B88D-D3215D195D0F}" type="pres">
      <dgm:prSet presAssocID="{7B55F80F-D03A-49C5-A8D7-9481494C9CF6}" presName="desTx" presStyleLbl="fgAcc1" presStyleIdx="0" presStyleCnt="6">
        <dgm:presLayoutVars>
          <dgm:bulletEnabled val="1"/>
        </dgm:presLayoutVars>
      </dgm:prSet>
      <dgm:spPr/>
    </dgm:pt>
    <dgm:pt modelId="{853CD93D-6677-4C3D-8A3B-22B6CC114911}" type="pres">
      <dgm:prSet presAssocID="{6432C0F6-DD8A-4E26-8887-73B4B3F1D5F4}" presName="sibTrans" presStyleLbl="sibTrans2D1" presStyleIdx="0" presStyleCnt="5"/>
      <dgm:spPr/>
    </dgm:pt>
    <dgm:pt modelId="{DA7D2E6B-2222-4DF2-A053-190B3C1E85AB}" type="pres">
      <dgm:prSet presAssocID="{6432C0F6-DD8A-4E26-8887-73B4B3F1D5F4}" presName="connTx" presStyleLbl="sibTrans2D1" presStyleIdx="0" presStyleCnt="5"/>
      <dgm:spPr/>
    </dgm:pt>
    <dgm:pt modelId="{6A8EB253-44ED-4A1D-8F6C-55C1B3E8ED6C}" type="pres">
      <dgm:prSet presAssocID="{B80E5649-26F8-4B48-AEA4-19759056AB8D}" presName="composite" presStyleCnt="0"/>
      <dgm:spPr/>
    </dgm:pt>
    <dgm:pt modelId="{689F9CB0-B70F-476D-B1F5-D377AD85996C}" type="pres">
      <dgm:prSet presAssocID="{B80E5649-26F8-4B48-AEA4-19759056AB8D}" presName="parTx" presStyleLbl="node1" presStyleIdx="0" presStyleCnt="6">
        <dgm:presLayoutVars>
          <dgm:chMax val="0"/>
          <dgm:chPref val="0"/>
          <dgm:bulletEnabled val="1"/>
        </dgm:presLayoutVars>
      </dgm:prSet>
      <dgm:spPr/>
    </dgm:pt>
    <dgm:pt modelId="{B19E1753-C94C-4C9B-9E16-AB99D80530EE}" type="pres">
      <dgm:prSet presAssocID="{B80E5649-26F8-4B48-AEA4-19759056AB8D}" presName="parSh" presStyleLbl="node1" presStyleIdx="1" presStyleCnt="6"/>
      <dgm:spPr/>
    </dgm:pt>
    <dgm:pt modelId="{9F56EB8E-F4F6-4D81-B6D4-AA93329795D3}" type="pres">
      <dgm:prSet presAssocID="{B80E5649-26F8-4B48-AEA4-19759056AB8D}" presName="desTx" presStyleLbl="fgAcc1" presStyleIdx="1" presStyleCnt="6">
        <dgm:presLayoutVars>
          <dgm:bulletEnabled val="1"/>
        </dgm:presLayoutVars>
      </dgm:prSet>
      <dgm:spPr/>
    </dgm:pt>
    <dgm:pt modelId="{D3EB4889-42CB-4DE9-B962-9B5DB3CD08A2}" type="pres">
      <dgm:prSet presAssocID="{EE219F0F-9804-43DC-BC40-459840E0529E}" presName="sibTrans" presStyleLbl="sibTrans2D1" presStyleIdx="1" presStyleCnt="5"/>
      <dgm:spPr/>
    </dgm:pt>
    <dgm:pt modelId="{48B9CA8A-4DA7-4C02-A8D0-3CAF7BAEE254}" type="pres">
      <dgm:prSet presAssocID="{EE219F0F-9804-43DC-BC40-459840E0529E}" presName="connTx" presStyleLbl="sibTrans2D1" presStyleIdx="1" presStyleCnt="5"/>
      <dgm:spPr/>
    </dgm:pt>
    <dgm:pt modelId="{1D828D4C-C1C4-480B-9110-07A541BC2A6F}" type="pres">
      <dgm:prSet presAssocID="{575FF9BF-2D2D-4DD9-93EE-2449C443E4D7}" presName="composite" presStyleCnt="0"/>
      <dgm:spPr/>
    </dgm:pt>
    <dgm:pt modelId="{13FE6A85-E76D-4A6D-B8D0-DB8BF35B6EEB}" type="pres">
      <dgm:prSet presAssocID="{575FF9BF-2D2D-4DD9-93EE-2449C443E4D7}" presName="parTx" presStyleLbl="node1" presStyleIdx="1" presStyleCnt="6">
        <dgm:presLayoutVars>
          <dgm:chMax val="0"/>
          <dgm:chPref val="0"/>
          <dgm:bulletEnabled val="1"/>
        </dgm:presLayoutVars>
      </dgm:prSet>
      <dgm:spPr/>
    </dgm:pt>
    <dgm:pt modelId="{567B9D7A-CEE5-401C-AE76-6AC7797721EB}" type="pres">
      <dgm:prSet presAssocID="{575FF9BF-2D2D-4DD9-93EE-2449C443E4D7}" presName="parSh" presStyleLbl="node1" presStyleIdx="2" presStyleCnt="6"/>
      <dgm:spPr/>
    </dgm:pt>
    <dgm:pt modelId="{586B0788-0807-42D0-94BF-671192857049}" type="pres">
      <dgm:prSet presAssocID="{575FF9BF-2D2D-4DD9-93EE-2449C443E4D7}" presName="desTx" presStyleLbl="fgAcc1" presStyleIdx="2" presStyleCnt="6">
        <dgm:presLayoutVars>
          <dgm:bulletEnabled val="1"/>
        </dgm:presLayoutVars>
      </dgm:prSet>
      <dgm:spPr/>
    </dgm:pt>
    <dgm:pt modelId="{68893F64-8BD6-4996-8CCF-6F9CD340CCCE}" type="pres">
      <dgm:prSet presAssocID="{835538E3-FC1E-4524-BCB3-CB41EE6C67B1}" presName="sibTrans" presStyleLbl="sibTrans2D1" presStyleIdx="2" presStyleCnt="5"/>
      <dgm:spPr/>
    </dgm:pt>
    <dgm:pt modelId="{84FCDB1F-2E17-4291-B3D5-5D0E934D4BDE}" type="pres">
      <dgm:prSet presAssocID="{835538E3-FC1E-4524-BCB3-CB41EE6C67B1}" presName="connTx" presStyleLbl="sibTrans2D1" presStyleIdx="2" presStyleCnt="5"/>
      <dgm:spPr/>
    </dgm:pt>
    <dgm:pt modelId="{79D4919C-68EA-481C-87EB-05E43E2A0736}" type="pres">
      <dgm:prSet presAssocID="{214532E4-B9CB-44F0-9F56-6D923DD59C08}" presName="composite" presStyleCnt="0"/>
      <dgm:spPr/>
    </dgm:pt>
    <dgm:pt modelId="{72140365-14EF-4FA6-B811-B0871364D70A}" type="pres">
      <dgm:prSet presAssocID="{214532E4-B9CB-44F0-9F56-6D923DD59C08}" presName="parTx" presStyleLbl="node1" presStyleIdx="2" presStyleCnt="6">
        <dgm:presLayoutVars>
          <dgm:chMax val="0"/>
          <dgm:chPref val="0"/>
          <dgm:bulletEnabled val="1"/>
        </dgm:presLayoutVars>
      </dgm:prSet>
      <dgm:spPr/>
    </dgm:pt>
    <dgm:pt modelId="{59EAB24A-291E-47C2-A5C3-E7DEF422E725}" type="pres">
      <dgm:prSet presAssocID="{214532E4-B9CB-44F0-9F56-6D923DD59C08}" presName="parSh" presStyleLbl="node1" presStyleIdx="3" presStyleCnt="6"/>
      <dgm:spPr/>
    </dgm:pt>
    <dgm:pt modelId="{0669C921-59F5-4DC5-A251-46C733FB9158}" type="pres">
      <dgm:prSet presAssocID="{214532E4-B9CB-44F0-9F56-6D923DD59C08}" presName="desTx" presStyleLbl="fgAcc1" presStyleIdx="3" presStyleCnt="6">
        <dgm:presLayoutVars>
          <dgm:bulletEnabled val="1"/>
        </dgm:presLayoutVars>
      </dgm:prSet>
      <dgm:spPr/>
    </dgm:pt>
    <dgm:pt modelId="{F7EBA96A-8468-490B-A7E3-3F27699DBA40}" type="pres">
      <dgm:prSet presAssocID="{443DE753-21BF-46AF-8A88-CEE4A6A1259A}" presName="sibTrans" presStyleLbl="sibTrans2D1" presStyleIdx="3" presStyleCnt="5"/>
      <dgm:spPr/>
    </dgm:pt>
    <dgm:pt modelId="{10473C48-7770-43CE-987B-A86BE34275C2}" type="pres">
      <dgm:prSet presAssocID="{443DE753-21BF-46AF-8A88-CEE4A6A1259A}" presName="connTx" presStyleLbl="sibTrans2D1" presStyleIdx="3" presStyleCnt="5"/>
      <dgm:spPr/>
    </dgm:pt>
    <dgm:pt modelId="{BAC3C859-B56C-4FCE-B1D2-1FB77A59732F}" type="pres">
      <dgm:prSet presAssocID="{B7054FFF-AC9F-4962-8389-1D9DF861AA30}" presName="composite" presStyleCnt="0"/>
      <dgm:spPr/>
    </dgm:pt>
    <dgm:pt modelId="{C12BFE99-4B4B-4615-BB93-4E1D0BA699F0}" type="pres">
      <dgm:prSet presAssocID="{B7054FFF-AC9F-4962-8389-1D9DF861AA30}" presName="parTx" presStyleLbl="node1" presStyleIdx="3" presStyleCnt="6">
        <dgm:presLayoutVars>
          <dgm:chMax val="0"/>
          <dgm:chPref val="0"/>
          <dgm:bulletEnabled val="1"/>
        </dgm:presLayoutVars>
      </dgm:prSet>
      <dgm:spPr/>
    </dgm:pt>
    <dgm:pt modelId="{1D0D5F59-278E-48E8-B214-2BBCE65EB26C}" type="pres">
      <dgm:prSet presAssocID="{B7054FFF-AC9F-4962-8389-1D9DF861AA30}" presName="parSh" presStyleLbl="node1" presStyleIdx="4" presStyleCnt="6"/>
      <dgm:spPr/>
    </dgm:pt>
    <dgm:pt modelId="{F6192895-9B36-44D5-BBA6-909EF9FC88FE}" type="pres">
      <dgm:prSet presAssocID="{B7054FFF-AC9F-4962-8389-1D9DF861AA30}" presName="desTx" presStyleLbl="fgAcc1" presStyleIdx="4" presStyleCnt="6">
        <dgm:presLayoutVars>
          <dgm:bulletEnabled val="1"/>
        </dgm:presLayoutVars>
      </dgm:prSet>
      <dgm:spPr/>
    </dgm:pt>
    <dgm:pt modelId="{8F9BA08E-A8C6-400A-803B-C91A1246744E}" type="pres">
      <dgm:prSet presAssocID="{3D2E039A-A3BB-4E76-A54C-4558B20B17FA}" presName="sibTrans" presStyleLbl="sibTrans2D1" presStyleIdx="4" presStyleCnt="5"/>
      <dgm:spPr/>
    </dgm:pt>
    <dgm:pt modelId="{B62C3158-7693-4319-97AB-99F2E4B26E44}" type="pres">
      <dgm:prSet presAssocID="{3D2E039A-A3BB-4E76-A54C-4558B20B17FA}" presName="connTx" presStyleLbl="sibTrans2D1" presStyleIdx="4" presStyleCnt="5"/>
      <dgm:spPr/>
    </dgm:pt>
    <dgm:pt modelId="{F03D771A-44DF-4380-A868-86EFBFE0FC1F}" type="pres">
      <dgm:prSet presAssocID="{FD89D887-F042-4699-A3AC-281D46F92B8C}" presName="composite" presStyleCnt="0"/>
      <dgm:spPr/>
    </dgm:pt>
    <dgm:pt modelId="{150D3382-2C5C-4E5C-A9CF-9674A0866413}" type="pres">
      <dgm:prSet presAssocID="{FD89D887-F042-4699-A3AC-281D46F92B8C}" presName="parTx" presStyleLbl="node1" presStyleIdx="4" presStyleCnt="6">
        <dgm:presLayoutVars>
          <dgm:chMax val="0"/>
          <dgm:chPref val="0"/>
          <dgm:bulletEnabled val="1"/>
        </dgm:presLayoutVars>
      </dgm:prSet>
      <dgm:spPr/>
    </dgm:pt>
    <dgm:pt modelId="{D91BB7DC-6104-42B5-A173-AE9AD32463B9}" type="pres">
      <dgm:prSet presAssocID="{FD89D887-F042-4699-A3AC-281D46F92B8C}" presName="parSh" presStyleLbl="node1" presStyleIdx="5" presStyleCnt="6"/>
      <dgm:spPr/>
    </dgm:pt>
    <dgm:pt modelId="{C04EEA18-B049-4BCB-9DA0-0C7FA3C244DE}" type="pres">
      <dgm:prSet presAssocID="{FD89D887-F042-4699-A3AC-281D46F92B8C}" presName="desTx" presStyleLbl="fgAcc1" presStyleIdx="5" presStyleCnt="6">
        <dgm:presLayoutVars>
          <dgm:bulletEnabled val="1"/>
        </dgm:presLayoutVars>
      </dgm:prSet>
      <dgm:spPr/>
    </dgm:pt>
  </dgm:ptLst>
  <dgm:cxnLst>
    <dgm:cxn modelId="{E53C7C01-35AC-4EF7-818F-B53CFFF5987E}" srcId="{FD89D887-F042-4699-A3AC-281D46F92B8C}" destId="{A0E9819D-149F-4666-8440-B6DAE11585BF}" srcOrd="16" destOrd="0" parTransId="{A8B9875F-795D-4F50-9250-00BD46656A0B}" sibTransId="{EC5B8574-53B1-4709-8B39-5790BC6252CA}"/>
    <dgm:cxn modelId="{B14F5402-A679-44E2-BE25-B352BCAAB946}" type="presOf" srcId="{F8719C74-E914-4F51-BD6D-C1C99A2938E3}" destId="{F6192895-9B36-44D5-BBA6-909EF9FC88FE}" srcOrd="0" destOrd="13" presId="urn:microsoft.com/office/officeart/2005/8/layout/process3"/>
    <dgm:cxn modelId="{2E526403-2EAE-4153-8F43-5AE9547176F8}" type="presOf" srcId="{BBEA2700-5279-4F68-A0A1-021FEB6F96E0}" destId="{0669C921-59F5-4DC5-A251-46C733FB9158}" srcOrd="0" destOrd="0" presId="urn:microsoft.com/office/officeart/2005/8/layout/process3"/>
    <dgm:cxn modelId="{BBAE2104-3FD7-468C-A8A1-559422014817}" srcId="{7B55F80F-D03A-49C5-A8D7-9481494C9CF6}" destId="{3CC91067-A5B8-4CA5-BF09-C3DAF24162F3}" srcOrd="14" destOrd="0" parTransId="{A04A1AB9-CF80-4EFE-8A04-CBFEAC0262BC}" sibTransId="{DAD26C36-43B5-4542-84D2-98518807F473}"/>
    <dgm:cxn modelId="{84F67008-A99D-4F28-AEF8-6662F66D33B2}" srcId="{B7054FFF-AC9F-4962-8389-1D9DF861AA30}" destId="{F09B6826-F89E-40C8-8252-561D8141195E}" srcOrd="11" destOrd="0" parTransId="{758AD906-D5FC-41D2-919E-0BB2C9C9380A}" sibTransId="{D122084A-FC72-4C84-9A05-C0A244D04647}"/>
    <dgm:cxn modelId="{1B175908-2F72-4FE3-9ADC-C2D15F296985}" srcId="{214532E4-B9CB-44F0-9F56-6D923DD59C08}" destId="{B2BD9212-6122-4DD0-9FD9-6C3D03552194}" srcOrd="4" destOrd="0" parTransId="{C71F03B9-E2F6-4D8F-993D-23FDAD95B231}" sibTransId="{5EA159E9-062F-42EF-801D-D0C47FA9576C}"/>
    <dgm:cxn modelId="{4D129208-B682-4603-983D-9512C6621866}" srcId="{FD89D887-F042-4699-A3AC-281D46F92B8C}" destId="{11D3D32D-31FF-4A61-A7A2-62CB42113FBD}" srcOrd="6" destOrd="0" parTransId="{13879C2C-7174-44C0-9A2E-F45975309698}" sibTransId="{330539AD-DD92-4158-9048-E98B4C952CEA}"/>
    <dgm:cxn modelId="{DA9AA408-CD58-4A27-BA89-26E108E50AAA}" type="presOf" srcId="{DC291E00-E898-49C4-A5F1-2078297180CF}" destId="{0669C921-59F5-4DC5-A251-46C733FB9158}" srcOrd="0" destOrd="12" presId="urn:microsoft.com/office/officeart/2005/8/layout/process3"/>
    <dgm:cxn modelId="{173D230D-F6B9-47ED-8217-2C7D4F4CA4B8}" srcId="{7B55F80F-D03A-49C5-A8D7-9481494C9CF6}" destId="{9348939B-5720-4D0B-9957-EB67AB0F246F}" srcOrd="4" destOrd="0" parTransId="{DC9F2D2D-82CF-4DB9-8D33-86D54FE19177}" sibTransId="{CA8E8619-3300-4CB1-8D75-B1BA8B261178}"/>
    <dgm:cxn modelId="{4453120E-9AFA-4F1B-8278-C16D83E0D90E}" srcId="{5F5C2A2F-8E10-44E7-AFCF-BA2B2A5C8B93}" destId="{E79BEAC0-E98A-4750-A0B3-69063CCF4F0C}" srcOrd="2" destOrd="0" parTransId="{5B29DD80-5F75-461E-B630-FA8D3B894A64}" sibTransId="{F705FF8D-22BB-47C3-A659-DE7D904ED195}"/>
    <dgm:cxn modelId="{52493B0F-6A63-46A1-8CB4-44FE0DD750C3}" type="presOf" srcId="{A0187C38-C525-49CA-89C4-431173B21DB1}" destId="{0669C921-59F5-4DC5-A251-46C733FB9158}" srcOrd="0" destOrd="9" presId="urn:microsoft.com/office/officeart/2005/8/layout/process3"/>
    <dgm:cxn modelId="{A5B7710F-200B-4392-A248-78F65D56FE5A}" srcId="{214532E4-B9CB-44F0-9F56-6D923DD59C08}" destId="{AD40686E-E3FC-4AAE-94A7-26E1532CB667}" srcOrd="3" destOrd="0" parTransId="{E37C49F5-C540-4A34-9B85-AD05E4300D5B}" sibTransId="{1BC22B5C-8740-40C0-A025-3B7616A96378}"/>
    <dgm:cxn modelId="{A7C2FC10-4758-4B73-B821-1A71D7EB61DF}" type="presOf" srcId="{AD40686E-E3FC-4AAE-94A7-26E1532CB667}" destId="{0669C921-59F5-4DC5-A251-46C733FB9158}" srcOrd="0" destOrd="15" presId="urn:microsoft.com/office/officeart/2005/8/layout/process3"/>
    <dgm:cxn modelId="{188E6A11-F75E-4D0A-B64D-DAABD2B972E4}" type="presOf" srcId="{6432C0F6-DD8A-4E26-8887-73B4B3F1D5F4}" destId="{853CD93D-6677-4C3D-8A3B-22B6CC114911}" srcOrd="0" destOrd="0" presId="urn:microsoft.com/office/officeart/2005/8/layout/process3"/>
    <dgm:cxn modelId="{916EAE11-B810-4F20-A6C0-4B934AB202E7}" srcId="{B80E5649-26F8-4B48-AEA4-19759056AB8D}" destId="{13F4383F-2AD5-4C41-B8FD-B706DEF81924}" srcOrd="4" destOrd="0" parTransId="{1C14CECC-D46E-4B63-AF30-05C0BDFA9437}" sibTransId="{CC3C16D6-72B5-4B26-8D38-889E957537CB}"/>
    <dgm:cxn modelId="{7680FB11-D23E-4D77-9918-38748254E0BC}" type="presOf" srcId="{58E30DFC-832A-4067-A793-3B898FA48B31}" destId="{13DD2ECA-B201-4566-B88D-D3215D195D0F}" srcOrd="0" destOrd="12" presId="urn:microsoft.com/office/officeart/2005/8/layout/process3"/>
    <dgm:cxn modelId="{9600F713-4A1F-45A4-ACE4-FC8D8F9C1F45}" srcId="{7B55F80F-D03A-49C5-A8D7-9481494C9CF6}" destId="{58E30DFC-832A-4067-A793-3B898FA48B31}" srcOrd="12" destOrd="0" parTransId="{3604B18F-A652-4C72-AD7A-487F2F2D6C9E}" sibTransId="{14CA0BBB-54B8-47E8-944F-CA17A83C0481}"/>
    <dgm:cxn modelId="{2A5F4917-4BB9-4648-8371-75503AC76513}" srcId="{F36219F5-4E3A-4ED5-AD34-F4D77A918CD9}" destId="{214532E4-B9CB-44F0-9F56-6D923DD59C08}" srcOrd="3" destOrd="0" parTransId="{2B640DAF-7662-4FFE-A0D5-54864A9F27BA}" sibTransId="{443DE753-21BF-46AF-8A88-CEE4A6A1259A}"/>
    <dgm:cxn modelId="{35B84719-5829-4936-A34F-7068BE251059}" srcId="{7B55F80F-D03A-49C5-A8D7-9481494C9CF6}" destId="{C4C38E34-9C6F-4E7E-95D0-C3EEAF5753D8}" srcOrd="6" destOrd="0" parTransId="{AC3E49AC-562F-4B10-B919-96DE72A4572B}" sibTransId="{5935E400-15AC-4808-B117-787631E9A4D6}"/>
    <dgm:cxn modelId="{DD188119-0B03-438A-9D18-A5162A0DF9FA}" type="presOf" srcId="{BDEA2256-3932-4DEC-BB09-808F1073E463}" destId="{9F56EB8E-F4F6-4D81-B6D4-AA93329795D3}" srcOrd="0" destOrd="9" presId="urn:microsoft.com/office/officeart/2005/8/layout/process3"/>
    <dgm:cxn modelId="{2D90101B-8A04-4A39-9281-B6D6CD5831C9}" srcId="{A0187C38-C525-49CA-89C4-431173B21DB1}" destId="{DC291E00-E898-49C4-A5F1-2078297180CF}" srcOrd="2" destOrd="0" parTransId="{8505513C-63CC-4403-AC9E-53FDA876D90B}" sibTransId="{BCD28E93-BB93-4414-B353-C666722819E5}"/>
    <dgm:cxn modelId="{6C1C5B1B-2587-4C71-B66A-C95016EC71B0}" srcId="{B80E5649-26F8-4B48-AEA4-19759056AB8D}" destId="{BDEA2256-3932-4DEC-BB09-808F1073E463}" srcOrd="9" destOrd="0" parTransId="{0ECF6FD1-D175-47A9-8A37-5A59F3D72C07}" sibTransId="{04F88239-5393-40D7-B4E8-5E27C712F244}"/>
    <dgm:cxn modelId="{1BE8621B-AC74-480B-B566-0B7C78960AEB}" srcId="{B80E5649-26F8-4B48-AEA4-19759056AB8D}" destId="{F052B028-3C62-4E68-8822-1F1999C61D45}" srcOrd="6" destOrd="0" parTransId="{4ECE788C-E43B-4B14-ABCA-8A2763467BF1}" sibTransId="{D7F3E95D-FB59-4136-AA1C-EEB3F2994D35}"/>
    <dgm:cxn modelId="{4452F41B-EAB0-4C92-8DA9-42F0E2EC6839}" type="presOf" srcId="{6C78B76E-C12F-4FCF-82C1-06818879ABD4}" destId="{586B0788-0807-42D0-94BF-671192857049}" srcOrd="0" destOrd="4" presId="urn:microsoft.com/office/officeart/2005/8/layout/process3"/>
    <dgm:cxn modelId="{39797B1C-3785-4D88-B74E-44BAC60AF382}" type="presOf" srcId="{6ABC4392-4D55-4944-B51A-6324F837749A}" destId="{F6192895-9B36-44D5-BBA6-909EF9FC88FE}" srcOrd="0" destOrd="10" presId="urn:microsoft.com/office/officeart/2005/8/layout/process3"/>
    <dgm:cxn modelId="{3D90401D-DC47-455F-8C78-ADF50F659B20}" srcId="{B7054FFF-AC9F-4962-8389-1D9DF861AA30}" destId="{80D893CC-BCCE-434F-B186-F9443DAB4ABF}" srcOrd="2" destOrd="0" parTransId="{5269BCED-0DB3-4156-B0AC-EF05918BFB67}" sibTransId="{1297D345-2153-41B0-935C-5E2847C8D263}"/>
    <dgm:cxn modelId="{F7D2951D-9C9D-494A-95EC-DA87E3470655}" type="presOf" srcId="{F9726158-A830-4F60-8DEA-95CCF3C3D5C6}" destId="{586B0788-0807-42D0-94BF-671192857049}" srcOrd="0" destOrd="6" presId="urn:microsoft.com/office/officeart/2005/8/layout/process3"/>
    <dgm:cxn modelId="{9E41C71D-D511-4AD5-8696-6940D02BABA5}" type="presOf" srcId="{07214D42-65E2-4175-949E-FAC8D69177B2}" destId="{0669C921-59F5-4DC5-A251-46C733FB9158}" srcOrd="0" destOrd="11" presId="urn:microsoft.com/office/officeart/2005/8/layout/process3"/>
    <dgm:cxn modelId="{3B24B11F-6277-4347-B9C2-02D2A7269776}" srcId="{B7054FFF-AC9F-4962-8389-1D9DF861AA30}" destId="{6ABC4392-4D55-4944-B51A-6324F837749A}" srcOrd="10" destOrd="0" parTransId="{2927DEB3-912C-4E29-945D-1404250AF3F4}" sibTransId="{772F295D-E34B-4CC8-A728-7CBF33B450BF}"/>
    <dgm:cxn modelId="{ED8A8C20-1B86-4F1F-942B-FA6700A7501D}" type="presOf" srcId="{629B1829-3CA1-4CC2-B3AA-22EC04F0275F}" destId="{0669C921-59F5-4DC5-A251-46C733FB9158}" srcOrd="0" destOrd="7" presId="urn:microsoft.com/office/officeart/2005/8/layout/process3"/>
    <dgm:cxn modelId="{52487821-C3B8-45BB-82E0-B37687FD7CDE}" type="presOf" srcId="{B4B701D2-A4FD-4DB5-A2ED-2D99E687AFC0}" destId="{586B0788-0807-42D0-94BF-671192857049}" srcOrd="0" destOrd="3" presId="urn:microsoft.com/office/officeart/2005/8/layout/process3"/>
    <dgm:cxn modelId="{4F010E24-9BAD-414D-B3DD-FA37B0F00CBC}" type="presOf" srcId="{F052B028-3C62-4E68-8822-1F1999C61D45}" destId="{9F56EB8E-F4F6-4D81-B6D4-AA93329795D3}" srcOrd="0" destOrd="6" presId="urn:microsoft.com/office/officeart/2005/8/layout/process3"/>
    <dgm:cxn modelId="{77E67324-73F4-442E-BA40-018E1C807DD4}" srcId="{214532E4-B9CB-44F0-9F56-6D923DD59C08}" destId="{8CD4CFD0-A188-4F49-A995-5F130374FA6C}" srcOrd="7" destOrd="0" parTransId="{F8515DE3-A248-4B86-AF48-E34036D46F2D}" sibTransId="{0539AEC7-B409-4EBE-8708-427F8537CF13}"/>
    <dgm:cxn modelId="{2AA57C24-0C13-4DF7-8686-AF34ABBFF934}" type="presOf" srcId="{0228F531-196E-4FE1-80D1-FA3A81532298}" destId="{9F56EB8E-F4F6-4D81-B6D4-AA93329795D3}" srcOrd="0" destOrd="11" presId="urn:microsoft.com/office/officeart/2005/8/layout/process3"/>
    <dgm:cxn modelId="{89363626-21B7-4B7B-A7BF-95314EB64CBF}" type="presOf" srcId="{B80E5649-26F8-4B48-AEA4-19759056AB8D}" destId="{689F9CB0-B70F-476D-B1F5-D377AD85996C}" srcOrd="0" destOrd="0" presId="urn:microsoft.com/office/officeart/2005/8/layout/process3"/>
    <dgm:cxn modelId="{15795226-1B50-4DED-ADAE-759E0BD773AD}" type="presOf" srcId="{9F26129D-3EC1-4257-9151-AC6E3E057CB7}" destId="{0669C921-59F5-4DC5-A251-46C733FB9158}" srcOrd="0" destOrd="13" presId="urn:microsoft.com/office/officeart/2005/8/layout/process3"/>
    <dgm:cxn modelId="{62F19E27-95E8-43FE-B4E3-39F650BB5DCE}" srcId="{FD89D887-F042-4699-A3AC-281D46F92B8C}" destId="{F450832B-AB68-4087-8F1C-5F7DF9FB356B}" srcOrd="10" destOrd="0" parTransId="{5F816590-C1C0-4135-AB08-E8E31C75B75D}" sibTransId="{CA784D9D-26F4-4D5F-BE43-7C694A141A2B}"/>
    <dgm:cxn modelId="{706AAE29-928A-4789-89DE-AAA9423442B8}" srcId="{216AC2A6-D2AD-4B71-A96B-2AF4A9CC9868}" destId="{C4CCEDF1-5897-45B0-B66C-8811F3685D76}" srcOrd="2" destOrd="0" parTransId="{73421055-5005-4BEB-A37E-CA5551C40B76}" sibTransId="{D49F01BF-EFE7-4535-95FF-6EFA5EB2705D}"/>
    <dgm:cxn modelId="{97BB862A-D4DF-4F06-8914-3F6D945C5653}" type="presOf" srcId="{835538E3-FC1E-4524-BCB3-CB41EE6C67B1}" destId="{68893F64-8BD6-4996-8CCF-6F9CD340CCCE}" srcOrd="0" destOrd="0" presId="urn:microsoft.com/office/officeart/2005/8/layout/process3"/>
    <dgm:cxn modelId="{D390E32D-294B-4AEF-A67A-C9FF2016151A}" type="presOf" srcId="{B9917DAD-045A-4F56-8F10-F238F67FBD27}" destId="{9F56EB8E-F4F6-4D81-B6D4-AA93329795D3}" srcOrd="0" destOrd="8" presId="urn:microsoft.com/office/officeart/2005/8/layout/process3"/>
    <dgm:cxn modelId="{E5D70F2E-CE00-4630-8F8F-9DA8121E350E}" srcId="{7B55F80F-D03A-49C5-A8D7-9481494C9CF6}" destId="{92801307-E047-4684-AD00-2BC3FEA6853D}" srcOrd="7" destOrd="0" parTransId="{A9DE82FF-4015-41AF-AE08-8323D3721F7E}" sibTransId="{8D3086D8-33FD-4D24-94FF-722812216C7F}"/>
    <dgm:cxn modelId="{702A3A2E-7068-4E9F-ABB9-3F88878A9F8E}" srcId="{7B55F80F-D03A-49C5-A8D7-9481494C9CF6}" destId="{31A5801F-C7AA-4CA9-BD81-2C4C838D591A}" srcOrd="15" destOrd="0" parTransId="{781E93AF-4F6C-42D0-B404-D757EF129EFB}" sibTransId="{E9E0D192-845A-473C-8614-C8218733E94A}"/>
    <dgm:cxn modelId="{B302382F-E2C8-4363-A2B9-69C515561A85}" type="presOf" srcId="{575FF9BF-2D2D-4DD9-93EE-2449C443E4D7}" destId="{567B9D7A-CEE5-401C-AE76-6AC7797721EB}" srcOrd="1" destOrd="0" presId="urn:microsoft.com/office/officeart/2005/8/layout/process3"/>
    <dgm:cxn modelId="{4538D533-603F-4BFD-BE1F-E2C2C2FE78ED}" srcId="{5F5C2A2F-8E10-44E7-AFCF-BA2B2A5C8B93}" destId="{629B1829-3CA1-4CC2-B3AA-22EC04F0275F}" srcOrd="5" destOrd="0" parTransId="{97B5597C-A289-4799-9D13-2E129EC06ED4}" sibTransId="{B8ED09A7-C924-4E78-B8E0-01194F3643DF}"/>
    <dgm:cxn modelId="{EDD95334-5332-4B50-B72E-29977ACFB8E1}" type="presOf" srcId="{6706972C-5110-42C5-B4FB-DA2EAACE8192}" destId="{9F56EB8E-F4F6-4D81-B6D4-AA93329795D3}" srcOrd="0" destOrd="17" presId="urn:microsoft.com/office/officeart/2005/8/layout/process3"/>
    <dgm:cxn modelId="{21EB6736-FBE7-4F45-99BF-1A0257E15504}" type="presOf" srcId="{80D893CC-BCCE-434F-B186-F9443DAB4ABF}" destId="{F6192895-9B36-44D5-BBA6-909EF9FC88FE}" srcOrd="0" destOrd="2" presId="urn:microsoft.com/office/officeart/2005/8/layout/process3"/>
    <dgm:cxn modelId="{7FE5AF37-28C5-40B7-B25E-B8A539CA0918}" type="presOf" srcId="{443DE753-21BF-46AF-8A88-CEE4A6A1259A}" destId="{F7EBA96A-8468-490B-A7E3-3F27699DBA40}" srcOrd="0" destOrd="0" presId="urn:microsoft.com/office/officeart/2005/8/layout/process3"/>
    <dgm:cxn modelId="{D9E69B38-DD4E-47E8-9B43-D5FDF14409BC}" type="presOf" srcId="{520B9E88-9D06-4466-B098-FF62FC9C2D61}" destId="{9F56EB8E-F4F6-4D81-B6D4-AA93329795D3}" srcOrd="0" destOrd="3" presId="urn:microsoft.com/office/officeart/2005/8/layout/process3"/>
    <dgm:cxn modelId="{BAC60C39-5E0F-425D-BF7E-554CBEDC19D3}" srcId="{FD89D887-F042-4699-A3AC-281D46F92B8C}" destId="{ABD29C45-8BD7-4E19-9E48-E4B938D3541E}" srcOrd="3" destOrd="0" parTransId="{92EB8B27-1785-4407-B491-A1294D0A5A48}" sibTransId="{CDB4C482-B75F-489B-832C-0B04F5034CAC}"/>
    <dgm:cxn modelId="{4D10E139-E432-4C13-85D8-7432E5AEBAB4}" srcId="{FD89D887-F042-4699-A3AC-281D46F92B8C}" destId="{E891FFC9-687C-4089-A455-391C7416FE02}" srcOrd="13" destOrd="0" parTransId="{4445BC48-35DE-488E-89D1-CDC9676CD923}" sibTransId="{0E62053A-F77E-4374-80D7-BC0E8F1098B5}"/>
    <dgm:cxn modelId="{43A1AC3A-F25F-4706-A3F8-BDE72BCA65EA}" type="presOf" srcId="{531AB0BA-50E6-486A-9F9B-F9A39714A402}" destId="{586B0788-0807-42D0-94BF-671192857049}" srcOrd="0" destOrd="1" presId="urn:microsoft.com/office/officeart/2005/8/layout/process3"/>
    <dgm:cxn modelId="{5C2CA93B-49B9-4F66-B240-A504F34105BE}" type="presOf" srcId="{D25D85F0-E72A-4C94-B50F-057E2834A6D0}" destId="{F6192895-9B36-44D5-BBA6-909EF9FC88FE}" srcOrd="0" destOrd="5" presId="urn:microsoft.com/office/officeart/2005/8/layout/process3"/>
    <dgm:cxn modelId="{BD71753C-45EE-4638-A144-AF9701025EE5}" type="presOf" srcId="{6B39AA38-446A-4307-825B-8E3169C2DBA4}" destId="{C04EEA18-B049-4BCB-9DA0-0C7FA3C244DE}" srcOrd="0" destOrd="15" presId="urn:microsoft.com/office/officeart/2005/8/layout/process3"/>
    <dgm:cxn modelId="{833AD03D-B288-469A-9226-8BC4E5592E5A}" srcId="{7B55F80F-D03A-49C5-A8D7-9481494C9CF6}" destId="{86FC5121-FB32-4B6A-906A-A19DEE692A00}" srcOrd="18" destOrd="0" parTransId="{A82776E0-5953-442E-95E3-3E94183CCE60}" sibTransId="{1C3AD532-9B6B-404E-8279-3CFE5C20EB83}"/>
    <dgm:cxn modelId="{6E8BED3D-ADB2-48D4-94FD-0E9093AE6B2A}" type="presOf" srcId="{13883AA6-1A40-4B38-8A8B-0D812257F3AA}" destId="{13DD2ECA-B201-4566-B88D-D3215D195D0F}" srcOrd="0" destOrd="3" presId="urn:microsoft.com/office/officeart/2005/8/layout/process3"/>
    <dgm:cxn modelId="{940D5F3E-DB21-486A-BD7A-668DA3D12C24}" type="presOf" srcId="{60A394DE-8DAC-4BC8-A8B9-D7BB9C6425C8}" destId="{C04EEA18-B049-4BCB-9DA0-0C7FA3C244DE}" srcOrd="0" destOrd="14" presId="urn:microsoft.com/office/officeart/2005/8/layout/process3"/>
    <dgm:cxn modelId="{2C9E683E-9660-45A3-9B08-BAFD651B7182}" srcId="{A0187C38-C525-49CA-89C4-431173B21DB1}" destId="{9F26129D-3EC1-4257-9151-AC6E3E057CB7}" srcOrd="3" destOrd="0" parTransId="{C5DFF83A-EB1A-4FC0-B5DF-0332D2A318CF}" sibTransId="{266FEFCC-22AA-46F4-8B08-CDB8A7668DAC}"/>
    <dgm:cxn modelId="{9ACD7C3E-A2A5-407A-BB3A-EE221712B0AE}" type="presOf" srcId="{13F4383F-2AD5-4C41-B8FD-B706DEF81924}" destId="{9F56EB8E-F4F6-4D81-B6D4-AA93329795D3}" srcOrd="0" destOrd="4" presId="urn:microsoft.com/office/officeart/2005/8/layout/process3"/>
    <dgm:cxn modelId="{E427A03F-63AB-4020-8405-F7B4CDBB67B6}" type="presOf" srcId="{0387FF82-BBD5-4BB2-9FE2-B85ABFE170A4}" destId="{586B0788-0807-42D0-94BF-671192857049}" srcOrd="0" destOrd="7" presId="urn:microsoft.com/office/officeart/2005/8/layout/process3"/>
    <dgm:cxn modelId="{8C3CFB3F-C661-4091-B112-3A5C61FE637B}" type="presOf" srcId="{142102AC-3FB6-42E7-B7C1-20405833D3A3}" destId="{13DD2ECA-B201-4566-B88D-D3215D195D0F}" srcOrd="0" destOrd="5" presId="urn:microsoft.com/office/officeart/2005/8/layout/process3"/>
    <dgm:cxn modelId="{4EBE0B40-8CBD-46DD-A1E5-AB6FAA188999}" type="presOf" srcId="{D68C7B7D-682C-42C0-B60E-4E1AD3DE30FB}" destId="{0669C921-59F5-4DC5-A251-46C733FB9158}" srcOrd="0" destOrd="21" presId="urn:microsoft.com/office/officeart/2005/8/layout/process3"/>
    <dgm:cxn modelId="{7804145B-4A4F-4C5C-80E7-EE50D30BEF73}" type="presOf" srcId="{C4C38E34-9C6F-4E7E-95D0-C3EEAF5753D8}" destId="{13DD2ECA-B201-4566-B88D-D3215D195D0F}" srcOrd="0" destOrd="6" presId="urn:microsoft.com/office/officeart/2005/8/layout/process3"/>
    <dgm:cxn modelId="{1653B45B-3E91-4ECA-92E2-0797EF308D61}" srcId="{B7054FFF-AC9F-4962-8389-1D9DF861AA30}" destId="{3A11D67B-5DC9-468F-9136-277DB984EC41}" srcOrd="1" destOrd="0" parTransId="{BF055321-CD5D-4345-9543-2911F87E38E6}" sibTransId="{9E0D25F1-2461-4147-B8A2-F74FFBDE5C2E}"/>
    <dgm:cxn modelId="{0E0D3D5C-4BCC-4091-BBFE-D43A81BF798A}" srcId="{216AC2A6-D2AD-4B71-A96B-2AF4A9CC9868}" destId="{FA6BE64B-2344-41CF-A343-4632710209A8}" srcOrd="0" destOrd="0" parTransId="{DF41F7E1-E07E-4A3F-9A16-C159827F0089}" sibTransId="{7FAC63BD-93B5-434B-AA76-52F6DA386325}"/>
    <dgm:cxn modelId="{7386055E-76CE-4437-B0A6-1D90BEBD0113}" type="presOf" srcId="{B80E5649-26F8-4B48-AEA4-19759056AB8D}" destId="{B19E1753-C94C-4C9B-9E16-AB99D80530EE}" srcOrd="1" destOrd="0" presId="urn:microsoft.com/office/officeart/2005/8/layout/process3"/>
    <dgm:cxn modelId="{6D8C695E-CFC0-4B5E-A867-A5DDF36E7976}" srcId="{F36219F5-4E3A-4ED5-AD34-F4D77A918CD9}" destId="{B80E5649-26F8-4B48-AEA4-19759056AB8D}" srcOrd="1" destOrd="0" parTransId="{1C3F3DD7-3C07-4DF4-862C-6D6B0DFEE720}" sibTransId="{EE219F0F-9804-43DC-BC40-459840E0529E}"/>
    <dgm:cxn modelId="{9FC16760-0A2C-4716-B82C-D8AC44377C1B}" srcId="{B7054FFF-AC9F-4962-8389-1D9DF861AA30}" destId="{97C7A680-1A78-4AD9-BA56-FE137D8865B7}" srcOrd="8" destOrd="0" parTransId="{96464E17-0161-46D5-99B2-4AF69478E1D7}" sibTransId="{2D5F5C94-DB74-4860-A3D2-D8BBA0BFF0FD}"/>
    <dgm:cxn modelId="{1FCA1D42-38B6-41FF-8C5C-9AA8DC053B27}" type="presOf" srcId="{E79BEAC0-E98A-4750-A0B3-69063CCF4F0C}" destId="{0669C921-59F5-4DC5-A251-46C733FB9158}" srcOrd="0" destOrd="4" presId="urn:microsoft.com/office/officeart/2005/8/layout/process3"/>
    <dgm:cxn modelId="{88F42562-E286-4D40-B387-35DC761185F6}" srcId="{B7054FFF-AC9F-4962-8389-1D9DF861AA30}" destId="{EC84C51B-5C5B-4E1A-B401-4DDA438550C6}" srcOrd="15" destOrd="0" parTransId="{E187652C-8958-4617-8B12-719AF7FB5172}" sibTransId="{8068E7EF-073A-46CF-9D6B-D0D8AAE641E6}"/>
    <dgm:cxn modelId="{08F85543-0AFE-48AF-BB3B-4EFAE314BC46}" srcId="{214532E4-B9CB-44F0-9F56-6D923DD59C08}" destId="{EF2AD0F1-B507-4865-87F8-3C26B5151494}" srcOrd="5" destOrd="0" parTransId="{D9C73C36-0209-448D-96B3-65A0983D1ADB}" sibTransId="{C38E0550-B34A-48A0-A4FE-6C3DBC2F81DC}"/>
    <dgm:cxn modelId="{180A8F63-314D-41CE-81BB-F7E9EB85FA3E}" srcId="{D858E37E-603A-4038-8A90-07B918878C09}" destId="{6C78B76E-C12F-4FCF-82C1-06818879ABD4}" srcOrd="1" destOrd="0" parTransId="{BF6CC63E-0715-43FE-93F0-639C4B44D5BB}" sibTransId="{E711A26D-9BDC-4518-B3C8-7C64E36BCDF4}"/>
    <dgm:cxn modelId="{CB663244-1890-4062-8653-C3EE151ACE29}" srcId="{FD89D887-F042-4699-A3AC-281D46F92B8C}" destId="{AA3E454A-8E65-4D8F-8A55-05F646597625}" srcOrd="9" destOrd="0" parTransId="{2DA6F321-5964-4F63-A807-B5EEFD1AFE82}" sibTransId="{2499BFC3-F1BE-4621-8A76-EB86C23B6DD3}"/>
    <dgm:cxn modelId="{D56ACB64-07B0-4C30-8E5C-6F24EA1F48F9}" type="presOf" srcId="{ED23B324-6F6C-418B-A626-ED5D83B33D34}" destId="{F6192895-9B36-44D5-BBA6-909EF9FC88FE}" srcOrd="0" destOrd="16" presId="urn:microsoft.com/office/officeart/2005/8/layout/process3"/>
    <dgm:cxn modelId="{444E7D65-CEF5-476C-A61F-BC0F3E1F53FD}" type="presOf" srcId="{540DCC61-19C5-40EF-AF04-8CB8C8B66E5C}" destId="{13DD2ECA-B201-4566-B88D-D3215D195D0F}" srcOrd="0" destOrd="2" presId="urn:microsoft.com/office/officeart/2005/8/layout/process3"/>
    <dgm:cxn modelId="{19628F46-7C9A-4942-AE6D-FE84D72ECFB1}" type="presOf" srcId="{30F71264-8255-4F62-9D94-4B86EB3D8A31}" destId="{F6192895-9B36-44D5-BBA6-909EF9FC88FE}" srcOrd="0" destOrd="17" presId="urn:microsoft.com/office/officeart/2005/8/layout/process3"/>
    <dgm:cxn modelId="{5049C666-59D8-4898-B4E9-0CEAE5A51BFB}" type="presOf" srcId="{A4E6F4C0-0595-4D32-A275-5FFB1B6832CF}" destId="{C04EEA18-B049-4BCB-9DA0-0C7FA3C244DE}" srcOrd="0" destOrd="8" presId="urn:microsoft.com/office/officeart/2005/8/layout/process3"/>
    <dgm:cxn modelId="{AA9A2367-CC31-4AAA-BB07-3466AF289920}" srcId="{7B55F80F-D03A-49C5-A8D7-9481494C9CF6}" destId="{5A06A1A7-B3DC-419B-BE8B-325D579D0E8B}" srcOrd="11" destOrd="0" parTransId="{343157B3-329F-4395-A3A6-9996AF945141}" sibTransId="{CC01BE00-F8A7-4B7D-A099-D7E8ABA717DC}"/>
    <dgm:cxn modelId="{CFEA5E47-DB13-4A63-987C-44D9E9B4EAEE}" type="presOf" srcId="{C9ADE0C3-DA50-419C-AC96-3B0087659F8E}" destId="{F6192895-9B36-44D5-BBA6-909EF9FC88FE}" srcOrd="0" destOrd="9" presId="urn:microsoft.com/office/officeart/2005/8/layout/process3"/>
    <dgm:cxn modelId="{4D6AC547-29CA-437C-99B4-90AC3A3A33D5}" type="presOf" srcId="{214532E4-B9CB-44F0-9F56-6D923DD59C08}" destId="{72140365-14EF-4FA6-B811-B0871364D70A}" srcOrd="0" destOrd="0" presId="urn:microsoft.com/office/officeart/2005/8/layout/process3"/>
    <dgm:cxn modelId="{2A117648-656E-45D9-92D7-5F5F592B81D3}" type="presOf" srcId="{B802D3C9-B097-4A01-9A0B-09162EA4F33F}" destId="{9F56EB8E-F4F6-4D81-B6D4-AA93329795D3}" srcOrd="0" destOrd="15" presId="urn:microsoft.com/office/officeart/2005/8/layout/process3"/>
    <dgm:cxn modelId="{1B03AE48-315F-429E-9450-AD6AB91623DF}" srcId="{F36219F5-4E3A-4ED5-AD34-F4D77A918CD9}" destId="{B7054FFF-AC9F-4962-8389-1D9DF861AA30}" srcOrd="4" destOrd="0" parTransId="{238E8CDD-FB55-48C7-864F-11363198B5C5}" sibTransId="{3D2E039A-A3BB-4E76-A54C-4558B20B17FA}"/>
    <dgm:cxn modelId="{EA18DA68-4C61-4B3B-8D58-1F141576AA0F}" srcId="{B7054FFF-AC9F-4962-8389-1D9DF861AA30}" destId="{18667430-6982-4CE4-85BF-8336216469D2}" srcOrd="14" destOrd="0" parTransId="{7477E483-A820-44EC-B301-669A3B0AE730}" sibTransId="{6825D5FD-C6BF-4E6A-8F2B-0F94641A1815}"/>
    <dgm:cxn modelId="{28923069-64A7-424A-B699-A2EC752C4151}" srcId="{7B55F80F-D03A-49C5-A8D7-9481494C9CF6}" destId="{540DCC61-19C5-40EF-AF04-8CB8C8B66E5C}" srcOrd="2" destOrd="0" parTransId="{1CDF44C1-CAFE-48D8-A095-A260022DCA63}" sibTransId="{0E9028E1-0DDF-442C-8D5C-3D4E5560FEE7}"/>
    <dgm:cxn modelId="{CAF37269-1724-4359-BB81-04CE4F3BBA7A}" srcId="{BDEA2256-3932-4DEC-BB09-808F1073E463}" destId="{216AC2A6-D2AD-4B71-A96B-2AF4A9CC9868}" srcOrd="1" destOrd="0" parTransId="{C5B32F32-C6D7-4393-8100-F410A49F9339}" sibTransId="{25E344DA-18A6-4BDA-9593-2C668D8824BE}"/>
    <dgm:cxn modelId="{6B9E5669-0C23-408B-A202-9F345E1347E3}" srcId="{7B55F80F-D03A-49C5-A8D7-9481494C9CF6}" destId="{142102AC-3FB6-42E7-B7C1-20405833D3A3}" srcOrd="5" destOrd="0" parTransId="{1077333A-DD90-49A7-86BA-16B718B4A0BA}" sibTransId="{461CE9B3-FD51-45C0-A653-8C284D8989CB}"/>
    <dgm:cxn modelId="{9783314A-30D4-4FA2-A7F4-0DED8F659F68}" srcId="{B80E5649-26F8-4B48-AEA4-19759056AB8D}" destId="{946F5445-BA5D-461B-A985-3BDB3A063EC4}" srcOrd="0" destOrd="0" parTransId="{8118534D-3CE8-4FE2-A9F1-44BEFB781987}" sibTransId="{BA9393CB-47A2-46C5-B76D-3649B22FB994}"/>
    <dgm:cxn modelId="{FC0EEC6A-AE61-4C4E-9167-6B7D9825C546}" srcId="{7B55F80F-D03A-49C5-A8D7-9481494C9CF6}" destId="{785B213D-B530-4DBC-AB0A-A1B36AF8675F}" srcOrd="16" destOrd="0" parTransId="{F96926C9-E7E5-4261-B545-FD0CA2881E3A}" sibTransId="{16D01FAA-F3A7-4656-BD3E-5209F10458DA}"/>
    <dgm:cxn modelId="{C9F22D6B-2C74-4385-96B4-56782938EE37}" srcId="{F36219F5-4E3A-4ED5-AD34-F4D77A918CD9}" destId="{575FF9BF-2D2D-4DD9-93EE-2449C443E4D7}" srcOrd="2" destOrd="0" parTransId="{52824C96-15B0-443E-BDFC-030B8DDA02A7}" sibTransId="{835538E3-FC1E-4524-BCB3-CB41EE6C67B1}"/>
    <dgm:cxn modelId="{0805CE6B-9107-417D-AF0B-5DF7DE856666}" type="presOf" srcId="{785B213D-B530-4DBC-AB0A-A1B36AF8675F}" destId="{13DD2ECA-B201-4566-B88D-D3215D195D0F}" srcOrd="0" destOrd="16" presId="urn:microsoft.com/office/officeart/2005/8/layout/process3"/>
    <dgm:cxn modelId="{FF82096C-58FF-46B3-A543-D57BCEAB5E9D}" type="presOf" srcId="{0A27DA80-0E2A-4E6C-9388-D1C11DE49FB5}" destId="{0669C921-59F5-4DC5-A251-46C733FB9158}" srcOrd="0" destOrd="8" presId="urn:microsoft.com/office/officeart/2005/8/layout/process3"/>
    <dgm:cxn modelId="{3817136C-A9EF-460F-88A7-0BD48699E709}" srcId="{D858E37E-603A-4038-8A90-07B918878C09}" destId="{F9726158-A830-4F60-8DEA-95CCF3C3D5C6}" srcOrd="3" destOrd="0" parTransId="{552F8891-CAFA-4496-AC2C-473B0BB9E062}" sibTransId="{51DC0299-94E5-4744-A95A-0768BA170253}"/>
    <dgm:cxn modelId="{228D146C-03B8-4D49-99BB-810ED1E8BEB2}" srcId="{FD89D887-F042-4699-A3AC-281D46F92B8C}" destId="{785987B6-4D71-463C-A3C6-F415DF128447}" srcOrd="7" destOrd="0" parTransId="{9DFB7157-ECD3-4DA3-9D2A-17FAE2F21069}" sibTransId="{172D3805-B069-4277-AF47-AC3F61C9F6CE}"/>
    <dgm:cxn modelId="{613AFA6C-E96C-4568-8EE2-8D8FEA7176EC}" srcId="{F36219F5-4E3A-4ED5-AD34-F4D77A918CD9}" destId="{7B55F80F-D03A-49C5-A8D7-9481494C9CF6}" srcOrd="0" destOrd="0" parTransId="{04001282-0E58-4D4B-8FB3-5411F5627801}" sibTransId="{6432C0F6-DD8A-4E26-8887-73B4B3F1D5F4}"/>
    <dgm:cxn modelId="{6864CE4D-127D-44FC-B37A-5DB02F188780}" type="presOf" srcId="{3D2E039A-A3BB-4E76-A54C-4558B20B17FA}" destId="{B62C3158-7693-4319-97AB-99F2E4B26E44}" srcOrd="1" destOrd="0" presId="urn:microsoft.com/office/officeart/2005/8/layout/process3"/>
    <dgm:cxn modelId="{4F06EE6D-FAAB-4FD5-A92B-709E6DAEEF63}" type="presOf" srcId="{7789D9D9-2855-4CDC-87C0-9619DD59B737}" destId="{9F56EB8E-F4F6-4D81-B6D4-AA93329795D3}" srcOrd="0" destOrd="2" presId="urn:microsoft.com/office/officeart/2005/8/layout/process3"/>
    <dgm:cxn modelId="{FE6F326E-23E9-46D9-B035-B49E00826276}" type="presOf" srcId="{15EC6D0C-A49F-4C71-8FF6-30F64A11FFE8}" destId="{13DD2ECA-B201-4566-B88D-D3215D195D0F}" srcOrd="0" destOrd="13" presId="urn:microsoft.com/office/officeart/2005/8/layout/process3"/>
    <dgm:cxn modelId="{C5FFA76E-ED3B-4B25-9A5C-F87A043304F0}" type="presOf" srcId="{86FC5121-FB32-4B6A-906A-A19DEE692A00}" destId="{13DD2ECA-B201-4566-B88D-D3215D195D0F}" srcOrd="0" destOrd="18" presId="urn:microsoft.com/office/officeart/2005/8/layout/process3"/>
    <dgm:cxn modelId="{4775E24E-DD7C-4DC9-BD45-A791FA9D2284}" srcId="{7B55F80F-D03A-49C5-A8D7-9481494C9CF6}" destId="{B571D74A-5181-4E83-A423-36D758DE2A66}" srcOrd="17" destOrd="0" parTransId="{71C09BD7-2454-4C3B-9CFA-A03476E3A073}" sibTransId="{78C1264B-EA75-4E51-B547-708106157559}"/>
    <dgm:cxn modelId="{5378164F-00CE-4CFF-8039-70B63EDCABBB}" srcId="{FD89D887-F042-4699-A3AC-281D46F92B8C}" destId="{4C88E423-743D-4C5F-A768-8ACDC3F3021D}" srcOrd="1" destOrd="0" parTransId="{8F80AC61-F38B-4A11-A36E-B7D70210C0E3}" sibTransId="{CCE8C3F8-6E61-4EA5-93DE-6E64BA975DD3}"/>
    <dgm:cxn modelId="{6B2A484F-613A-4925-93CD-0BCDE0439D9B}" srcId="{B7054FFF-AC9F-4962-8389-1D9DF861AA30}" destId="{C640B35D-CD8B-499B-8EE4-E4D584814311}" srcOrd="7" destOrd="0" parTransId="{B006047E-480E-4611-AF51-9DB340484303}" sibTransId="{263AC2B9-C82C-49A8-868C-8F0AE817B626}"/>
    <dgm:cxn modelId="{8664CF6F-ECDD-4DE2-9DCA-0C8A969FDCC6}" srcId="{214532E4-B9CB-44F0-9F56-6D923DD59C08}" destId="{A0187C38-C525-49CA-89C4-431173B21DB1}" srcOrd="2" destOrd="0" parTransId="{29E0F077-FE21-4EFE-A3F3-4270996FD84C}" sibTransId="{64C113BD-0342-4985-B5D7-951781C9A58C}"/>
    <dgm:cxn modelId="{F4B64971-EA3C-413A-B0F1-71157A1D276F}" srcId="{B80E5649-26F8-4B48-AEA4-19759056AB8D}" destId="{520B9E88-9D06-4466-B098-FF62FC9C2D61}" srcOrd="3" destOrd="0" parTransId="{566102B4-D1CA-4A81-89E5-E06331313F8D}" sibTransId="{85DF8206-C3A2-4FC8-AA70-0FABB57C5935}"/>
    <dgm:cxn modelId="{5EA4A051-E8DD-428D-830B-64F8D4645899}" type="presOf" srcId="{5F5C2A2F-8E10-44E7-AFCF-BA2B2A5C8B93}" destId="{0669C921-59F5-4DC5-A251-46C733FB9158}" srcOrd="0" destOrd="1" presId="urn:microsoft.com/office/officeart/2005/8/layout/process3"/>
    <dgm:cxn modelId="{604FC071-01AC-4708-B873-1B3306E2D552}" srcId="{FD89D887-F042-4699-A3AC-281D46F92B8C}" destId="{60A394DE-8DAC-4BC8-A8B9-D7BB9C6425C8}" srcOrd="14" destOrd="0" parTransId="{347EC414-A07C-484C-8E6D-B1E06B3C6ADD}" sibTransId="{BEC4245C-9243-4331-9ABD-12AF9B13F4CB}"/>
    <dgm:cxn modelId="{47E0F171-64DB-4E85-A718-6BFF0782C657}" type="presOf" srcId="{7B55F80F-D03A-49C5-A8D7-9481494C9CF6}" destId="{DDDE01ED-CFC5-4356-A354-B1FA2BD7C89B}" srcOrd="0" destOrd="0" presId="urn:microsoft.com/office/officeart/2005/8/layout/process3"/>
    <dgm:cxn modelId="{C6A32873-EC24-4F2A-A4FA-D5E5BF8B14BE}" srcId="{B7054FFF-AC9F-4962-8389-1D9DF861AA30}" destId="{C8708369-F004-40B3-85FE-766ABEFD2BB7}" srcOrd="0" destOrd="0" parTransId="{B285F728-AB5F-4801-AE32-489C2087690A}" sibTransId="{D2FED381-9237-4AFB-9797-9442E4012A67}"/>
    <dgm:cxn modelId="{78C06674-6838-4E92-85DF-0F7FC341F454}" type="presOf" srcId="{95E46436-7894-47FF-9279-15D47155E6CB}" destId="{9F56EB8E-F4F6-4D81-B6D4-AA93329795D3}" srcOrd="0" destOrd="7" presId="urn:microsoft.com/office/officeart/2005/8/layout/process3"/>
    <dgm:cxn modelId="{96634076-603B-4BD6-ABB7-510D39E6D8BF}" srcId="{B7054FFF-AC9F-4962-8389-1D9DF861AA30}" destId="{18A36FB2-9F1A-463E-886A-7709DB35EEE3}" srcOrd="4" destOrd="0" parTransId="{DD9F76F2-EA55-47A0-B381-79837726E715}" sibTransId="{59B8D3F1-DBB0-4029-BA1C-4824BC4A48FB}"/>
    <dgm:cxn modelId="{4C367577-2D0C-4122-AC16-26DB995838F7}" type="presOf" srcId="{92801307-E047-4684-AD00-2BC3FEA6853D}" destId="{13DD2ECA-B201-4566-B88D-D3215D195D0F}" srcOrd="0" destOrd="7" presId="urn:microsoft.com/office/officeart/2005/8/layout/process3"/>
    <dgm:cxn modelId="{5695CE77-3B23-447E-AB0D-276EE9742172}" type="presOf" srcId="{575FF9BF-2D2D-4DD9-93EE-2449C443E4D7}" destId="{13FE6A85-E76D-4A6D-B8D0-DB8BF35B6EEB}" srcOrd="0" destOrd="0" presId="urn:microsoft.com/office/officeart/2005/8/layout/process3"/>
    <dgm:cxn modelId="{A42E3178-6094-47E8-A8FE-F8AD1621440F}" type="presOf" srcId="{D858E37E-603A-4038-8A90-07B918878C09}" destId="{586B0788-0807-42D0-94BF-671192857049}" srcOrd="0" destOrd="2" presId="urn:microsoft.com/office/officeart/2005/8/layout/process3"/>
    <dgm:cxn modelId="{E0CFF158-8B31-4FB2-9299-D72783813EFE}" srcId="{7B55F80F-D03A-49C5-A8D7-9481494C9CF6}" destId="{B5B5B619-671C-4FA5-8E77-A510978A0E29}" srcOrd="0" destOrd="0" parTransId="{187D0BC7-0157-4A5C-8097-C7EB27DB3D06}" sibTransId="{5421D7E5-301C-4A7F-A90E-1F686654BFA4}"/>
    <dgm:cxn modelId="{86B8F07A-2C17-4614-985B-D5BB0F6B4C27}" type="presOf" srcId="{F72B70CE-9331-4DC4-977C-6C45F6AB9C19}" destId="{F6192895-9B36-44D5-BBA6-909EF9FC88FE}" srcOrd="0" destOrd="6" presId="urn:microsoft.com/office/officeart/2005/8/layout/process3"/>
    <dgm:cxn modelId="{9A34DB7B-D140-43F7-88F5-91BF552DC7CD}" type="presOf" srcId="{835538E3-FC1E-4524-BCB3-CB41EE6C67B1}" destId="{84FCDB1F-2E17-4291-B3D5-5D0E934D4BDE}" srcOrd="1" destOrd="0" presId="urn:microsoft.com/office/officeart/2005/8/layout/process3"/>
    <dgm:cxn modelId="{566F3C7F-9C11-44C0-A4C7-B2A45DE3B89F}" srcId="{B7054FFF-AC9F-4962-8389-1D9DF861AA30}" destId="{5B2920DF-38B2-4CD7-9A3C-A97DA345C59C}" srcOrd="18" destOrd="0" parTransId="{1C06BFA1-8814-4E1D-9952-FDBA6D4DF05D}" sibTransId="{491FC057-9210-4EC6-9715-161F9F7ED07D}"/>
    <dgm:cxn modelId="{3173C57F-4CBE-487F-B3C2-5FDB2C87BE92}" type="presOf" srcId="{FA6BE64B-2344-41CF-A343-4632710209A8}" destId="{9F56EB8E-F4F6-4D81-B6D4-AA93329795D3}" srcOrd="0" destOrd="14" presId="urn:microsoft.com/office/officeart/2005/8/layout/process3"/>
    <dgm:cxn modelId="{7BD96381-C518-4529-866A-2E5E7AF75675}" srcId="{214532E4-B9CB-44F0-9F56-6D923DD59C08}" destId="{EA577BB8-7B6C-4C25-9347-94902F4CB033}" srcOrd="6" destOrd="0" parTransId="{F54A891D-38FF-43BC-B4B3-F8344D176F64}" sibTransId="{6A0A5C7D-4639-41C7-B3E1-1DA43843498F}"/>
    <dgm:cxn modelId="{23691E82-F59E-4505-A140-EF898487DF2B}" type="presOf" srcId="{ABD29C45-8BD7-4E19-9E48-E4B938D3541E}" destId="{C04EEA18-B049-4BCB-9DA0-0C7FA3C244DE}" srcOrd="0" destOrd="3" presId="urn:microsoft.com/office/officeart/2005/8/layout/process3"/>
    <dgm:cxn modelId="{D3A93F83-F1BD-42BA-83AA-47E36CFBF10B}" type="presOf" srcId="{FD89D887-F042-4699-A3AC-281D46F92B8C}" destId="{150D3382-2C5C-4E5C-A9CF-9674A0866413}" srcOrd="0" destOrd="0" presId="urn:microsoft.com/office/officeart/2005/8/layout/process3"/>
    <dgm:cxn modelId="{F1304483-5633-4E58-B26D-52B6B9CD4081}" type="presOf" srcId="{B571D74A-5181-4E83-A423-36D758DE2A66}" destId="{13DD2ECA-B201-4566-B88D-D3215D195D0F}" srcOrd="0" destOrd="17" presId="urn:microsoft.com/office/officeart/2005/8/layout/process3"/>
    <dgm:cxn modelId="{66761786-182D-4FCF-96B4-536F60CA217A}" type="presOf" srcId="{31A5801F-C7AA-4CA9-BD81-2C4C838D591A}" destId="{13DD2ECA-B201-4566-B88D-D3215D195D0F}" srcOrd="0" destOrd="15" presId="urn:microsoft.com/office/officeart/2005/8/layout/process3"/>
    <dgm:cxn modelId="{8DBAD486-D6AC-4D0A-8C13-6D7B4ED81BFC}" srcId="{216AC2A6-D2AD-4B71-A96B-2AF4A9CC9868}" destId="{B802D3C9-B097-4A01-9A0B-09162EA4F33F}" srcOrd="1" destOrd="0" parTransId="{476BC955-4B2C-41D5-ACCD-D31D14D32C66}" sibTransId="{C375586D-A099-4801-9AD9-6CAF029FEABC}"/>
    <dgm:cxn modelId="{65FB9B8B-B63C-4EDE-AA32-64B1EF278EF7}" srcId="{B7054FFF-AC9F-4962-8389-1D9DF861AA30}" destId="{F8719C74-E914-4F51-BD6D-C1C99A2938E3}" srcOrd="13" destOrd="0" parTransId="{21B523D1-C43C-43E1-B096-9117CA32F82B}" sibTransId="{2B701D2D-F958-4685-84EE-F8A4506A07F3}"/>
    <dgm:cxn modelId="{D3B2FF8B-2A9E-47D2-9F06-8B608F0C0DD2}" type="presOf" srcId="{39AD5A6F-B123-442C-A238-77845D8EB909}" destId="{0669C921-59F5-4DC5-A251-46C733FB9158}" srcOrd="0" destOrd="3" presId="urn:microsoft.com/office/officeart/2005/8/layout/process3"/>
    <dgm:cxn modelId="{C49E498E-4774-4861-995A-BC24BF2CB074}" srcId="{B80E5649-26F8-4B48-AEA4-19759056AB8D}" destId="{B9917DAD-045A-4F56-8F10-F238F67FBD27}" srcOrd="8" destOrd="0" parTransId="{58242E92-A186-4A96-8EAA-3D740398024F}" sibTransId="{E20D6842-7850-4AEB-9F7F-CEDD00BE4049}"/>
    <dgm:cxn modelId="{1117748E-4674-4439-B1F9-A61DAF43C7A7}" type="presOf" srcId="{E891FFC9-687C-4089-A455-391C7416FE02}" destId="{C04EEA18-B049-4BCB-9DA0-0C7FA3C244DE}" srcOrd="0" destOrd="13" presId="urn:microsoft.com/office/officeart/2005/8/layout/process3"/>
    <dgm:cxn modelId="{9192E08E-1050-4F56-AE21-9858AACC872B}" type="presOf" srcId="{443DE753-21BF-46AF-8A88-CEE4A6A1259A}" destId="{10473C48-7770-43CE-987B-A86BE34275C2}" srcOrd="1" destOrd="0" presId="urn:microsoft.com/office/officeart/2005/8/layout/process3"/>
    <dgm:cxn modelId="{A6F5E18F-C239-4A2A-ACC2-7C2B24E0D6A2}" type="presOf" srcId="{69E7B6DD-9A8E-492E-9571-C6373138651B}" destId="{0669C921-59F5-4DC5-A251-46C733FB9158}" srcOrd="0" destOrd="5" presId="urn:microsoft.com/office/officeart/2005/8/layout/process3"/>
    <dgm:cxn modelId="{86D74E91-A176-4391-A673-D7B389C8F1FF}" type="presOf" srcId="{C4CCEDF1-5897-45B0-B66C-8811F3685D76}" destId="{9F56EB8E-F4F6-4D81-B6D4-AA93329795D3}" srcOrd="0" destOrd="16" presId="urn:microsoft.com/office/officeart/2005/8/layout/process3"/>
    <dgm:cxn modelId="{70A88591-BB19-4A41-8B13-D47AD983ED25}" type="presOf" srcId="{946F5445-BA5D-461B-A985-3BDB3A063EC4}" destId="{9F56EB8E-F4F6-4D81-B6D4-AA93329795D3}" srcOrd="0" destOrd="0" presId="urn:microsoft.com/office/officeart/2005/8/layout/process3"/>
    <dgm:cxn modelId="{D9510392-2CE5-407F-B27D-5A5801F45FBE}" type="presOf" srcId="{4C88E423-743D-4C5F-A768-8ACDC3F3021D}" destId="{C04EEA18-B049-4BCB-9DA0-0C7FA3C244DE}" srcOrd="0" destOrd="1" presId="urn:microsoft.com/office/officeart/2005/8/layout/process3"/>
    <dgm:cxn modelId="{E5F1B993-71E7-4DE7-844D-233ED0B37810}" type="presOf" srcId="{18A36FB2-9F1A-463E-886A-7709DB35EEE3}" destId="{F6192895-9B36-44D5-BBA6-909EF9FC88FE}" srcOrd="0" destOrd="4" presId="urn:microsoft.com/office/officeart/2005/8/layout/process3"/>
    <dgm:cxn modelId="{9E71F996-03D5-4CDC-BA1B-666DF4FB7461}" type="presOf" srcId="{A0E9819D-149F-4666-8440-B6DAE11585BF}" destId="{C04EEA18-B049-4BCB-9DA0-0C7FA3C244DE}" srcOrd="0" destOrd="16" presId="urn:microsoft.com/office/officeart/2005/8/layout/process3"/>
    <dgm:cxn modelId="{8B154A9A-5F29-4846-AB3A-338DC31DBD00}" type="presOf" srcId="{2D46BED6-3BAD-4540-B057-A056CEE99799}" destId="{13DD2ECA-B201-4566-B88D-D3215D195D0F}" srcOrd="0" destOrd="1" presId="urn:microsoft.com/office/officeart/2005/8/layout/process3"/>
    <dgm:cxn modelId="{F4E11A9B-6261-483C-B500-EFCB1CE35B2A}" type="presOf" srcId="{D9B2DC80-F37D-4A6A-A6F6-46C145F46572}" destId="{0669C921-59F5-4DC5-A251-46C733FB9158}" srcOrd="0" destOrd="2" presId="urn:microsoft.com/office/officeart/2005/8/layout/process3"/>
    <dgm:cxn modelId="{0723929B-4BAC-4CD2-8D18-E1C8C4478F21}" srcId="{5F5C2A2F-8E10-44E7-AFCF-BA2B2A5C8B93}" destId="{E0931004-F8ED-421F-9BBD-1C22EA423511}" srcOrd="4" destOrd="0" parTransId="{C645AEC4-8F88-4D92-919C-62A8E685B477}" sibTransId="{F70AB24D-B3D3-427A-A6D3-0F83606F03E4}"/>
    <dgm:cxn modelId="{973C179C-872F-4013-8AF4-B8D9E8BAB2C9}" srcId="{FD89D887-F042-4699-A3AC-281D46F92B8C}" destId="{6B39AA38-446A-4307-825B-8E3169C2DBA4}" srcOrd="15" destOrd="0" parTransId="{0AF55F99-C23A-44CB-92E8-6161432610CA}" sibTransId="{CACA52EA-DF19-464B-8E03-0AF660A78230}"/>
    <dgm:cxn modelId="{8F6AA7A1-6BB5-4C82-BF7C-B261FCD0852F}" srcId="{B80E5649-26F8-4B48-AEA4-19759056AB8D}" destId="{95E46436-7894-47FF-9279-15D47155E6CB}" srcOrd="7" destOrd="0" parTransId="{5A3E7ED4-D2EB-43E5-896E-45147E4E1AF1}" sibTransId="{27F783D8-139F-46E1-A954-CB6A599853C5}"/>
    <dgm:cxn modelId="{1821C6A1-ED02-4E63-B662-A20BC91ADD5C}" type="presOf" srcId="{D46A45B2-355E-429B-9B2F-87EDE9944063}" destId="{C04EEA18-B049-4BCB-9DA0-0C7FA3C244DE}" srcOrd="0" destOrd="2" presId="urn:microsoft.com/office/officeart/2005/8/layout/process3"/>
    <dgm:cxn modelId="{E9E6F3A1-1EFB-4141-A71A-D8A00C19CC2C}" srcId="{214532E4-B9CB-44F0-9F56-6D923DD59C08}" destId="{5F5C2A2F-8E10-44E7-AFCF-BA2B2A5C8B93}" srcOrd="1" destOrd="0" parTransId="{B4DF6B9C-EBFD-4AC7-B3CC-3F8F31EB715B}" sibTransId="{9CDA2A5C-76E3-47D3-B514-C20D634D4B13}"/>
    <dgm:cxn modelId="{5B915BA2-91AA-4655-B318-55CA70058FAE}" type="presOf" srcId="{C640B35D-CD8B-499B-8EE4-E4D584814311}" destId="{F6192895-9B36-44D5-BBA6-909EF9FC88FE}" srcOrd="0" destOrd="7" presId="urn:microsoft.com/office/officeart/2005/8/layout/process3"/>
    <dgm:cxn modelId="{C32F8CA3-A2AF-4228-91AC-93E7EE6E8A2E}" srcId="{FD89D887-F042-4699-A3AC-281D46F92B8C}" destId="{2F91B5FB-CD0C-483C-9DBE-7B7A996EEDD6}" srcOrd="11" destOrd="0" parTransId="{1D49A71D-E7C7-4116-BB2A-24D450F5039B}" sibTransId="{028EADF7-A635-44C1-9FD9-AA571EAEDD81}"/>
    <dgm:cxn modelId="{768EB9A3-8BC3-41E5-8326-48703B1812D8}" type="presOf" srcId="{AA3E454A-8E65-4D8F-8A55-05F646597625}" destId="{C04EEA18-B049-4BCB-9DA0-0C7FA3C244DE}" srcOrd="0" destOrd="9" presId="urn:microsoft.com/office/officeart/2005/8/layout/process3"/>
    <dgm:cxn modelId="{EEC614A4-DBC0-4454-86AF-8D37147D0184}" type="presOf" srcId="{F450832B-AB68-4087-8F1C-5F7DF9FB356B}" destId="{C04EEA18-B049-4BCB-9DA0-0C7FA3C244DE}" srcOrd="0" destOrd="10" presId="urn:microsoft.com/office/officeart/2005/8/layout/process3"/>
    <dgm:cxn modelId="{ECE51BA4-3A37-4F05-AF34-6B559B050D4C}" srcId="{B80E5649-26F8-4B48-AEA4-19759056AB8D}" destId="{6F155B8B-43A5-4066-B1A1-A090E07FAA1E}" srcOrd="1" destOrd="0" parTransId="{3BA2CD52-9A2F-458A-B61D-45EB539A1040}" sibTransId="{91BCA701-181D-4F8E-A616-4783CFF91551}"/>
    <dgm:cxn modelId="{8A6255A7-97DF-4444-9C22-AFCD5F3107F4}" type="presOf" srcId="{B5B5B619-671C-4FA5-8E77-A510978A0E29}" destId="{13DD2ECA-B201-4566-B88D-D3215D195D0F}" srcOrd="0" destOrd="0" presId="urn:microsoft.com/office/officeart/2005/8/layout/process3"/>
    <dgm:cxn modelId="{FA6ED5A9-4F96-4F9E-B7D3-90203265F4C8}" type="presOf" srcId="{D8E6175F-EE33-47B2-8847-7DD3930762A4}" destId="{13DD2ECA-B201-4566-B88D-D3215D195D0F}" srcOrd="0" destOrd="10" presId="urn:microsoft.com/office/officeart/2005/8/layout/process3"/>
    <dgm:cxn modelId="{539201AA-9E8F-42B4-9089-44FD6112D8AD}" type="presOf" srcId="{F36219F5-4E3A-4ED5-AD34-F4D77A918CD9}" destId="{7183C6B3-D2E6-431F-BD8E-5A921DFB8892}" srcOrd="0" destOrd="0" presId="urn:microsoft.com/office/officeart/2005/8/layout/process3"/>
    <dgm:cxn modelId="{DE1AC6AB-0148-477D-BB71-2445837F440A}" srcId="{B7054FFF-AC9F-4962-8389-1D9DF861AA30}" destId="{ED23B324-6F6C-418B-A626-ED5D83B33D34}" srcOrd="16" destOrd="0" parTransId="{560D1EF3-2CAA-48BF-B116-AF21D421C5B1}" sibTransId="{3A922611-0021-4DFF-B1A8-0567F53BA4CD}"/>
    <dgm:cxn modelId="{98F898B0-26CE-444B-8148-794B028F6000}" type="presOf" srcId="{0F7BEBB8-E8BF-4B1A-ABF8-36DFDA7128DA}" destId="{0669C921-59F5-4DC5-A251-46C733FB9158}" srcOrd="0" destOrd="16" presId="urn:microsoft.com/office/officeart/2005/8/layout/process3"/>
    <dgm:cxn modelId="{0D8E9FB0-D19E-40FD-9C02-6AB400AEF447}" srcId="{B7054FFF-AC9F-4962-8389-1D9DF861AA30}" destId="{C9ADE0C3-DA50-419C-AC96-3B0087659F8E}" srcOrd="9" destOrd="0" parTransId="{E9AA1924-B0DA-47BC-AC50-BF80C1ACA3C1}" sibTransId="{F3F7D309-635E-4388-9AF4-EA7820489BDA}"/>
    <dgm:cxn modelId="{4DEA75B1-69FF-4233-B75C-F1AE61A9EAB2}" srcId="{FD89D887-F042-4699-A3AC-281D46F92B8C}" destId="{B4601664-9D93-4B37-AFB9-99EE17CB8D2D}" srcOrd="4" destOrd="0" parTransId="{D22DA530-1546-4C9A-9B56-0EFA76EE46DA}" sibTransId="{B66A7289-B262-4AA3-B78E-735C5306D295}"/>
    <dgm:cxn modelId="{8B1692B2-D665-44F5-B399-2810B611E797}" srcId="{575FF9BF-2D2D-4DD9-93EE-2449C443E4D7}" destId="{0387FF82-BBD5-4BB2-9FE2-B85ABFE170A4}" srcOrd="1" destOrd="0" parTransId="{F3479BA8-F922-44CB-BE6C-81C34BFD57AA}" sibTransId="{3A1A1EBA-9617-4068-8FDF-40F236E83F2B}"/>
    <dgm:cxn modelId="{4E5BBAB2-2E85-45A7-9BAF-D6E57B9B5693}" srcId="{B80E5649-26F8-4B48-AEA4-19759056AB8D}" destId="{6706972C-5110-42C5-B4FB-DA2EAACE8192}" srcOrd="10" destOrd="0" parTransId="{98D345D4-7F9D-42F6-BFB3-78845D30A6A5}" sibTransId="{ACBA4D85-4B21-49C0-90DB-3226AB906DFC}"/>
    <dgm:cxn modelId="{54E8D0B2-CE78-45FD-81AB-AC7DF36FB802}" type="presOf" srcId="{9348939B-5720-4D0B-9957-EB67AB0F246F}" destId="{13DD2ECA-B201-4566-B88D-D3215D195D0F}" srcOrd="0" destOrd="4" presId="urn:microsoft.com/office/officeart/2005/8/layout/process3"/>
    <dgm:cxn modelId="{B018D5B2-CFDE-41AD-9A07-527BE2B28C05}" type="presOf" srcId="{18667430-6982-4CE4-85BF-8336216469D2}" destId="{F6192895-9B36-44D5-BBA6-909EF9FC88FE}" srcOrd="0" destOrd="14" presId="urn:microsoft.com/office/officeart/2005/8/layout/process3"/>
    <dgm:cxn modelId="{D2E450B3-B085-4D23-A6F1-00358C0FAEFA}" type="presOf" srcId="{E3A79149-C8EA-485E-B789-65B32301B3C0}" destId="{586B0788-0807-42D0-94BF-671192857049}" srcOrd="0" destOrd="5" presId="urn:microsoft.com/office/officeart/2005/8/layout/process3"/>
    <dgm:cxn modelId="{7E00CFB3-2E89-44F4-9D16-42DE13D1210D}" type="presOf" srcId="{E0522B95-37FE-4E9C-BDD7-FA4319AAC8A1}" destId="{C04EEA18-B049-4BCB-9DA0-0C7FA3C244DE}" srcOrd="0" destOrd="0" presId="urn:microsoft.com/office/officeart/2005/8/layout/process3"/>
    <dgm:cxn modelId="{565208B4-CD95-47D4-A569-CE0FB02E3CCD}" srcId="{B7054FFF-AC9F-4962-8389-1D9DF861AA30}" destId="{7F8261F6-DFBC-4EF1-ACAF-5A87D6BECD57}" srcOrd="12" destOrd="0" parTransId="{86B28A62-BF2A-4BD9-A758-F86342DF2182}" sibTransId="{33B33703-CC69-4A29-9BAF-BFF5906133B2}"/>
    <dgm:cxn modelId="{E8DDE5B4-6876-47F1-A0A1-F85609FBE025}" type="presOf" srcId="{8BC35B2A-D29B-4347-AB89-3E2A23CC38CC}" destId="{9F56EB8E-F4F6-4D81-B6D4-AA93329795D3}" srcOrd="0" destOrd="5" presId="urn:microsoft.com/office/officeart/2005/8/layout/process3"/>
    <dgm:cxn modelId="{5FA177B5-ACEA-499B-94FB-B9619A746708}" type="presOf" srcId="{3D2E039A-A3BB-4E76-A54C-4558B20B17FA}" destId="{8F9BA08E-A8C6-400A-803B-C91A1246744E}" srcOrd="0" destOrd="0" presId="urn:microsoft.com/office/officeart/2005/8/layout/process3"/>
    <dgm:cxn modelId="{B017A4B5-085F-4FEB-A385-211111E92385}" srcId="{AD40686E-E3FC-4AAE-94A7-26E1532CB667}" destId="{0F7BEBB8-E8BF-4B1A-ABF8-36DFDA7128DA}" srcOrd="0" destOrd="0" parTransId="{4EE0C469-9FD0-4BC0-B124-1673524830AB}" sibTransId="{B9B7DBC8-21E2-4B82-8706-0F343F3635A3}"/>
    <dgm:cxn modelId="{5E26D4B5-F382-42AB-A7D9-1CC2E0752678}" type="presOf" srcId="{D968BCFB-25A7-4E6C-A129-5DD29FA79777}" destId="{F6192895-9B36-44D5-BBA6-909EF9FC88FE}" srcOrd="0" destOrd="20" presId="urn:microsoft.com/office/officeart/2005/8/layout/process3"/>
    <dgm:cxn modelId="{AEAAD7B6-41BA-4EDE-B00B-C15D6C52E831}" type="presOf" srcId="{214532E4-B9CB-44F0-9F56-6D923DD59C08}" destId="{59EAB24A-291E-47C2-A5C3-E7DEF422E725}" srcOrd="1" destOrd="0" presId="urn:microsoft.com/office/officeart/2005/8/layout/process3"/>
    <dgm:cxn modelId="{90B549B9-2F09-4AB2-9D36-57AE793F9D7C}" srcId="{214532E4-B9CB-44F0-9F56-6D923DD59C08}" destId="{D68C7B7D-682C-42C0-B60E-4E1AD3DE30FB}" srcOrd="8" destOrd="0" parTransId="{7471E42C-243B-4AEF-8EBB-2568B252B993}" sibTransId="{C374EB0E-C84F-4655-BADC-31DEA7A9AA05}"/>
    <dgm:cxn modelId="{30B7A9BD-6F41-46F5-88BE-CE2F57D586F1}" srcId="{D858E37E-603A-4038-8A90-07B918878C09}" destId="{B4B701D2-A4FD-4DB5-A2ED-2D99E687AFC0}" srcOrd="0" destOrd="0" parTransId="{A57E1158-3B98-4203-944F-C6550960310F}" sibTransId="{71DA8900-D28C-4E84-B06C-2807581D5AD6}"/>
    <dgm:cxn modelId="{EE726FBE-8F62-482E-9D38-6B80CF6D6E1D}" srcId="{5F5C2A2F-8E10-44E7-AFCF-BA2B2A5C8B93}" destId="{0A27DA80-0E2A-4E6C-9388-D1C11DE49FB5}" srcOrd="6" destOrd="0" parTransId="{8B831C58-7BE6-4D4F-B926-3D67DAC722CF}" sibTransId="{0712F7E0-015A-45B5-8E16-E16CCD5836DC}"/>
    <dgm:cxn modelId="{8B40C2BF-F877-49FA-B729-BAED3800FD2C}" srcId="{BDEA2256-3932-4DEC-BB09-808F1073E463}" destId="{6ED259D4-000F-4D87-B9F1-FEFF0074845B}" srcOrd="0" destOrd="0" parTransId="{102F3C3A-4B97-4DC6-9133-20E879176543}" sibTransId="{A918C341-170A-40DF-B37E-772E55C62326}"/>
    <dgm:cxn modelId="{CC5A11C0-C234-4BF5-8D49-059724164D4F}" srcId="{FD89D887-F042-4699-A3AC-281D46F92B8C}" destId="{0E7BD33F-256F-4FE0-BAAF-0C9059F1E69A}" srcOrd="12" destOrd="0" parTransId="{0F5C8033-602A-4D56-AEB6-A85CD11FBC0D}" sibTransId="{59D6C3B2-52E8-4DC6-82AD-21F6D64B2334}"/>
    <dgm:cxn modelId="{5D1F32C0-3CFE-4F29-BD49-CB846127AA65}" type="presOf" srcId="{FAB15925-61F4-478E-86EB-250F299E6E94}" destId="{C04EEA18-B049-4BCB-9DA0-0C7FA3C244DE}" srcOrd="0" destOrd="17" presId="urn:microsoft.com/office/officeart/2005/8/layout/process3"/>
    <dgm:cxn modelId="{9119EEC0-2BB4-4FFC-B048-BDBB69BE4D1F}" type="presOf" srcId="{216AC2A6-D2AD-4B71-A96B-2AF4A9CC9868}" destId="{9F56EB8E-F4F6-4D81-B6D4-AA93329795D3}" srcOrd="0" destOrd="13" presId="urn:microsoft.com/office/officeart/2005/8/layout/process3"/>
    <dgm:cxn modelId="{AA4308C1-3F0F-4482-A8BE-A7B6B407B9CC}" srcId="{7B55F80F-D03A-49C5-A8D7-9481494C9CF6}" destId="{D8E6175F-EE33-47B2-8847-7DD3930762A4}" srcOrd="10" destOrd="0" parTransId="{E1BB0C58-856D-4D95-B912-601BB989D1E8}" sibTransId="{EB6D3CD6-B0CB-4AD0-A06D-0017D032B6EE}"/>
    <dgm:cxn modelId="{894F74C2-5352-4D45-A41C-E1F83358AE7A}" srcId="{7B55F80F-D03A-49C5-A8D7-9481494C9CF6}" destId="{2D46BED6-3BAD-4540-B057-A056CEE99799}" srcOrd="1" destOrd="0" parTransId="{D4F6708B-B159-4C12-B594-BDD5FD4A485F}" sibTransId="{92198964-7565-4516-9F95-B7ABD06EB44E}"/>
    <dgm:cxn modelId="{44178FC2-77A4-4CEB-8C8E-0C3D455A2416}" type="presOf" srcId="{11D3D32D-31FF-4A61-A7A2-62CB42113FBD}" destId="{C04EEA18-B049-4BCB-9DA0-0C7FA3C244DE}" srcOrd="0" destOrd="6" presId="urn:microsoft.com/office/officeart/2005/8/layout/process3"/>
    <dgm:cxn modelId="{2C3B23C3-7A48-487F-B524-9438BA17C5ED}" type="presOf" srcId="{B2BD9212-6122-4DD0-9FD9-6C3D03552194}" destId="{0669C921-59F5-4DC5-A251-46C733FB9158}" srcOrd="0" destOrd="17" presId="urn:microsoft.com/office/officeart/2005/8/layout/process3"/>
    <dgm:cxn modelId="{5837FFC3-CADA-4A2F-8A23-6805171116C4}" type="presOf" srcId="{1E7B0058-86FE-4B55-A24D-05B48300F2A1}" destId="{C04EEA18-B049-4BCB-9DA0-0C7FA3C244DE}" srcOrd="0" destOrd="5" presId="urn:microsoft.com/office/officeart/2005/8/layout/process3"/>
    <dgm:cxn modelId="{E29912C7-8CBF-4E46-96B8-180791E5279A}" srcId="{B7054FFF-AC9F-4962-8389-1D9DF861AA30}" destId="{F72B70CE-9331-4DC4-977C-6C45F6AB9C19}" srcOrd="6" destOrd="0" parTransId="{D32974CF-1B4E-414E-8B93-7A92B5B4DE9A}" sibTransId="{58881517-2AA1-438E-8D5C-AFD04FE75E56}"/>
    <dgm:cxn modelId="{3E6CE7C8-F53C-43C4-9665-FB29AB432D79}" type="presOf" srcId="{5B2920DF-38B2-4CD7-9A3C-A97DA345C59C}" destId="{F6192895-9B36-44D5-BBA6-909EF9FC88FE}" srcOrd="0" destOrd="18" presId="urn:microsoft.com/office/officeart/2005/8/layout/process3"/>
    <dgm:cxn modelId="{89D265CA-D031-417B-B602-C0AA4D7B4652}" type="presOf" srcId="{3A11D67B-5DC9-468F-9136-277DB984EC41}" destId="{F6192895-9B36-44D5-BBA6-909EF9FC88FE}" srcOrd="0" destOrd="1" presId="urn:microsoft.com/office/officeart/2005/8/layout/process3"/>
    <dgm:cxn modelId="{793525CC-CC15-4167-839E-EF158A8671C7}" srcId="{5F5C2A2F-8E10-44E7-AFCF-BA2B2A5C8B93}" destId="{69E7B6DD-9A8E-492E-9571-C6373138651B}" srcOrd="3" destOrd="0" parTransId="{EDDBC162-9766-4000-BBD7-0A34ECDC5A42}" sibTransId="{A3E55664-B2CF-40DE-9A17-95AF5E4BDB5A}"/>
    <dgm:cxn modelId="{54547ACC-E90A-4585-96BC-4C17FAE9FF48}" type="presOf" srcId="{0A50C411-5396-4464-9158-690F90666C9C}" destId="{9F56EB8E-F4F6-4D81-B6D4-AA93329795D3}" srcOrd="0" destOrd="12" presId="urn:microsoft.com/office/officeart/2005/8/layout/process3"/>
    <dgm:cxn modelId="{46F685CC-D7EE-4D79-8A5B-47BB3A4040C5}" srcId="{B80E5649-26F8-4B48-AEA4-19759056AB8D}" destId="{7789D9D9-2855-4CDC-87C0-9619DD59B737}" srcOrd="2" destOrd="0" parTransId="{653944EA-9F9A-4FD0-A498-B807A094108B}" sibTransId="{937713DB-C6F3-4B32-8A75-C19ECBAF5FB4}"/>
    <dgm:cxn modelId="{92C09BCC-D889-4179-8AA0-EC31DFA1E13B}" type="presOf" srcId="{C8708369-F004-40B3-85FE-766ABEFD2BB7}" destId="{F6192895-9B36-44D5-BBA6-909EF9FC88FE}" srcOrd="0" destOrd="0" presId="urn:microsoft.com/office/officeart/2005/8/layout/process3"/>
    <dgm:cxn modelId="{1C3C33CF-9285-46AC-A2D8-C04347FA7D64}" type="presOf" srcId="{B05C846C-9512-4326-85A9-03F4D48EF073}" destId="{0669C921-59F5-4DC5-A251-46C733FB9158}" srcOrd="0" destOrd="14" presId="urn:microsoft.com/office/officeart/2005/8/layout/process3"/>
    <dgm:cxn modelId="{DD37ACD0-C314-4738-A6E7-943090FD9EFA}" type="presOf" srcId="{68A2CF2C-4B6F-4859-B16A-69D38669E17E}" destId="{13DD2ECA-B201-4566-B88D-D3215D195D0F}" srcOrd="0" destOrd="9" presId="urn:microsoft.com/office/officeart/2005/8/layout/process3"/>
    <dgm:cxn modelId="{1D88DCD0-396F-4762-9D8B-87006D965816}" type="presOf" srcId="{0E7BD33F-256F-4FE0-BAAF-0C9059F1E69A}" destId="{C04EEA18-B049-4BCB-9DA0-0C7FA3C244DE}" srcOrd="0" destOrd="12" presId="urn:microsoft.com/office/officeart/2005/8/layout/process3"/>
    <dgm:cxn modelId="{F6228AD1-2532-4200-9135-F496204E7826}" type="presOf" srcId="{2F91B5FB-CD0C-483C-9DBE-7B7A996EEDD6}" destId="{C04EEA18-B049-4BCB-9DA0-0C7FA3C244DE}" srcOrd="0" destOrd="11" presId="urn:microsoft.com/office/officeart/2005/8/layout/process3"/>
    <dgm:cxn modelId="{016765D2-7A6C-4F69-B632-569F2CCA475A}" srcId="{5F5C2A2F-8E10-44E7-AFCF-BA2B2A5C8B93}" destId="{39AD5A6F-B123-442C-A238-77845D8EB909}" srcOrd="1" destOrd="0" parTransId="{B57FDED7-9B6F-4FBB-B38E-CD7878BDA187}" sibTransId="{68C656E4-26C8-46D7-969C-125E813A63AA}"/>
    <dgm:cxn modelId="{CC77F5D2-BB61-426C-B5F7-AF3CF5B4494A}" srcId="{FD89D887-F042-4699-A3AC-281D46F92B8C}" destId="{E0522B95-37FE-4E9C-BDD7-FA4319AAC8A1}" srcOrd="0" destOrd="0" parTransId="{380F3E04-63BF-47C6-8C12-3701AD684FDE}" sibTransId="{BE5A3229-55FC-4B43-A593-1F9E77802F2F}"/>
    <dgm:cxn modelId="{4BCB1AD5-550B-4007-A315-BE02698B7FD8}" srcId="{B7054FFF-AC9F-4962-8389-1D9DF861AA30}" destId="{30F71264-8255-4F62-9D94-4B86EB3D8A31}" srcOrd="17" destOrd="0" parTransId="{316A09EB-C677-472C-B494-382549126A09}" sibTransId="{B981D65E-30FE-4177-AE55-982EDB0AB0BF}"/>
    <dgm:cxn modelId="{C48864D5-09FD-4E64-A225-4AC846250A7B}" srcId="{A9874AF0-4739-4437-821A-6CFD277CB4E9}" destId="{531AB0BA-50E6-486A-9F9B-F9A39714A402}" srcOrd="0" destOrd="0" parTransId="{D0783C24-43F3-4C9F-8E07-4CFED8935BAB}" sibTransId="{4AC3B477-7449-4729-B868-51AEF8F16991}"/>
    <dgm:cxn modelId="{0A67B8D7-0976-4D93-BF70-68612442F868}" srcId="{B7054FFF-AC9F-4962-8389-1D9DF861AA30}" destId="{D968BCFB-25A7-4E6C-A129-5DD29FA79777}" srcOrd="20" destOrd="0" parTransId="{2EF1B0D4-1430-46A0-BAB9-54B05A57B3DA}" sibTransId="{88594121-AA37-462D-B2C4-B76115F187E0}"/>
    <dgm:cxn modelId="{995553D8-6267-4605-BD75-E1EA7336780A}" srcId="{B7054FFF-AC9F-4962-8389-1D9DF861AA30}" destId="{D25D85F0-E72A-4C94-B50F-057E2834A6D0}" srcOrd="5" destOrd="0" parTransId="{C6C85A31-086A-412F-8403-EF98A2D60340}" sibTransId="{DBC3C707-4757-4A3E-B494-11482C6D3F9D}"/>
    <dgm:cxn modelId="{483878D8-E167-46F1-AB4A-E3DD75129405}" type="presOf" srcId="{97C7A680-1A78-4AD9-BA56-FE137D8865B7}" destId="{F6192895-9B36-44D5-BBA6-909EF9FC88FE}" srcOrd="0" destOrd="8" presId="urn:microsoft.com/office/officeart/2005/8/layout/process3"/>
    <dgm:cxn modelId="{02CEB1D9-095C-4E53-BA69-BD10A75F416C}" type="presOf" srcId="{EE219F0F-9804-43DC-BC40-459840E0529E}" destId="{D3EB4889-42CB-4DE9-B962-9B5DB3CD08A2}" srcOrd="0" destOrd="0" presId="urn:microsoft.com/office/officeart/2005/8/layout/process3"/>
    <dgm:cxn modelId="{14CBB8DB-EAF8-449A-BCEE-EA69B765A6F6}" type="presOf" srcId="{EF2AD0F1-B507-4865-87F8-3C26B5151494}" destId="{0669C921-59F5-4DC5-A251-46C733FB9158}" srcOrd="0" destOrd="18" presId="urn:microsoft.com/office/officeart/2005/8/layout/process3"/>
    <dgm:cxn modelId="{2C747DDC-C8C6-4781-A9C2-A778E94B99DD}" type="presOf" srcId="{EA577BB8-7B6C-4C25-9347-94902F4CB033}" destId="{0669C921-59F5-4DC5-A251-46C733FB9158}" srcOrd="0" destOrd="19" presId="urn:microsoft.com/office/officeart/2005/8/layout/process3"/>
    <dgm:cxn modelId="{9E2F4DDD-88EE-4FF2-9D36-180C777FCB71}" srcId="{B7054FFF-AC9F-4962-8389-1D9DF861AA30}" destId="{CAA40DF4-6F3C-4343-94A7-81DD95635DA2}" srcOrd="19" destOrd="0" parTransId="{00467210-1079-438A-B40D-65FA41FA6710}" sibTransId="{22D16CA8-5694-4FFB-9CDD-64E4516CA661}"/>
    <dgm:cxn modelId="{F3CFA6DE-7A98-41BC-AA71-CD8EC46156E2}" type="presOf" srcId="{B7054FFF-AC9F-4962-8389-1D9DF861AA30}" destId="{1D0D5F59-278E-48E8-B214-2BBCE65EB26C}" srcOrd="1" destOrd="0" presId="urn:microsoft.com/office/officeart/2005/8/layout/process3"/>
    <dgm:cxn modelId="{780D75DF-E15C-44CA-9AD1-F2620C8D15B5}" srcId="{7B55F80F-D03A-49C5-A8D7-9481494C9CF6}" destId="{13883AA6-1A40-4B38-8A8B-0D812257F3AA}" srcOrd="3" destOrd="0" parTransId="{64D0BB6F-A4B2-48F7-9B97-7F8B8E8E60E6}" sibTransId="{A79F39AB-F21F-48B2-AEE2-2E9ABFBE1095}"/>
    <dgm:cxn modelId="{921EE9E0-9B9D-4969-9806-9F8646A4F7F9}" srcId="{214532E4-B9CB-44F0-9F56-6D923DD59C08}" destId="{BBEA2700-5279-4F68-A0A1-021FEB6F96E0}" srcOrd="0" destOrd="0" parTransId="{2A17AC14-483C-4B08-B34A-ED86BD389BA9}" sibTransId="{4DDF712D-C70E-4CFA-9C51-1204B8CC2C08}"/>
    <dgm:cxn modelId="{D98C3BE2-D0C8-4A04-9E89-9713271FD629}" srcId="{FD89D887-F042-4699-A3AC-281D46F92B8C}" destId="{1E7B0058-86FE-4B55-A24D-05B48300F2A1}" srcOrd="5" destOrd="0" parTransId="{3E3CD83E-F638-412F-A722-AC026CE5530C}" sibTransId="{E59CBE51-0B08-4DD1-8C63-BD59A3EA398D}"/>
    <dgm:cxn modelId="{8562F9E2-C415-430C-BF8C-F18DC286CD49}" srcId="{FD89D887-F042-4699-A3AC-281D46F92B8C}" destId="{D46A45B2-355E-429B-9B2F-87EDE9944063}" srcOrd="2" destOrd="0" parTransId="{73E41DC8-725C-4A85-B13E-FCCCDC8CE6E7}" sibTransId="{12F636AE-1886-445D-8623-A5098E535AE4}"/>
    <dgm:cxn modelId="{B9B2FBE3-473B-47C2-B5A7-5E5BCB518EF5}" type="presOf" srcId="{6432C0F6-DD8A-4E26-8887-73B4B3F1D5F4}" destId="{DA7D2E6B-2222-4DF2-A053-190B3C1E85AB}" srcOrd="1" destOrd="0" presId="urn:microsoft.com/office/officeart/2005/8/layout/process3"/>
    <dgm:cxn modelId="{606BD1E4-14D5-4870-B51F-91B7F0B9A4F5}" type="presOf" srcId="{785987B6-4D71-463C-A3C6-F415DF128447}" destId="{C04EEA18-B049-4BCB-9DA0-0C7FA3C244DE}" srcOrd="0" destOrd="7" presId="urn:microsoft.com/office/officeart/2005/8/layout/process3"/>
    <dgm:cxn modelId="{618A54E5-D93D-4654-B81E-4A8C04A26F82}" srcId="{FD89D887-F042-4699-A3AC-281D46F92B8C}" destId="{A4E6F4C0-0595-4D32-A275-5FFB1B6832CF}" srcOrd="8" destOrd="0" parTransId="{D90CFEE9-60CA-452D-8A31-D93EB9BEF173}" sibTransId="{8EEE05B9-AAF2-4291-86AF-F72CB4612FA8}"/>
    <dgm:cxn modelId="{E96E93E5-6E15-4EE3-B8F3-66D784F9E821}" srcId="{A0187C38-C525-49CA-89C4-431173B21DB1}" destId="{B05C846C-9512-4326-85A9-03F4D48EF073}" srcOrd="4" destOrd="0" parTransId="{F32FC627-D189-4DC0-897C-B3F119457DAA}" sibTransId="{2B477DCB-DF8D-4D63-BADD-6B48937C0F24}"/>
    <dgm:cxn modelId="{FFEDC2E5-E373-42CC-A36A-E3D9F5BF7280}" type="presOf" srcId="{6F155B8B-43A5-4066-B1A1-A090E07FAA1E}" destId="{9F56EB8E-F4F6-4D81-B6D4-AA93329795D3}" srcOrd="0" destOrd="1" presId="urn:microsoft.com/office/officeart/2005/8/layout/process3"/>
    <dgm:cxn modelId="{9E844CE6-65C1-46A6-8FDC-B8C405AC734F}" type="presOf" srcId="{7B55F80F-D03A-49C5-A8D7-9481494C9CF6}" destId="{162BDA6A-4DB3-4EB3-9861-C7FBE0C310DC}" srcOrd="1" destOrd="0" presId="urn:microsoft.com/office/officeart/2005/8/layout/process3"/>
    <dgm:cxn modelId="{A837FDE6-D875-4873-ACC1-ABAAFDDE0FCC}" type="presOf" srcId="{8CD4CFD0-A188-4F49-A995-5F130374FA6C}" destId="{0669C921-59F5-4DC5-A251-46C733FB9158}" srcOrd="0" destOrd="20" presId="urn:microsoft.com/office/officeart/2005/8/layout/process3"/>
    <dgm:cxn modelId="{7BDFF3E9-A9F7-4A16-8D08-4C96516C0DCC}" srcId="{7B55F80F-D03A-49C5-A8D7-9481494C9CF6}" destId="{15EC6D0C-A49F-4C71-8FF6-30F64A11FFE8}" srcOrd="13" destOrd="0" parTransId="{40EB7328-976B-4F5E-AF69-B9336D6992B9}" sibTransId="{25D7B6CE-6586-4EF7-8196-713031B4EC42}"/>
    <dgm:cxn modelId="{F49329EA-2471-4A5A-BEBB-074009E26FAD}" type="presOf" srcId="{E0931004-F8ED-421F-9BBD-1C22EA423511}" destId="{0669C921-59F5-4DC5-A251-46C733FB9158}" srcOrd="0" destOrd="6" presId="urn:microsoft.com/office/officeart/2005/8/layout/process3"/>
    <dgm:cxn modelId="{74E2F2EA-0A94-42CD-AFD3-9A9D7A63304B}" srcId="{D858E37E-603A-4038-8A90-07B918878C09}" destId="{E3A79149-C8EA-485E-B789-65B32301B3C0}" srcOrd="2" destOrd="0" parTransId="{A2B04DBF-466F-4778-B9F4-05FA375B1722}" sibTransId="{43102BC4-EF62-4EB7-834D-D55C025FA5CE}"/>
    <dgm:cxn modelId="{623FFFEB-FD39-41EB-B47B-E6176D354E9A}" type="presOf" srcId="{B4601664-9D93-4B37-AFB9-99EE17CB8D2D}" destId="{C04EEA18-B049-4BCB-9DA0-0C7FA3C244DE}" srcOrd="0" destOrd="4" presId="urn:microsoft.com/office/officeart/2005/8/layout/process3"/>
    <dgm:cxn modelId="{06DC1DEC-B098-498E-84D6-595CD20AD188}" srcId="{B80E5649-26F8-4B48-AEA4-19759056AB8D}" destId="{8BC35B2A-D29B-4347-AB89-3E2A23CC38CC}" srcOrd="5" destOrd="0" parTransId="{18BBA379-26A2-4DD1-B6F0-4D108AB4F445}" sibTransId="{0CD72317-2650-4E31-A04F-7FD52D162336}"/>
    <dgm:cxn modelId="{11FE36EC-A25D-46E1-A065-A55848CC08E9}" srcId="{575FF9BF-2D2D-4DD9-93EE-2449C443E4D7}" destId="{A9874AF0-4739-4437-821A-6CFD277CB4E9}" srcOrd="0" destOrd="0" parTransId="{230556FF-8626-4B65-8003-CF8B553A1451}" sibTransId="{1BC027A9-5C5C-4EA2-968D-26B9288C9C82}"/>
    <dgm:cxn modelId="{F03F74ED-4886-4E94-B249-B67321918F67}" type="presOf" srcId="{6ED259D4-000F-4D87-B9F1-FEFF0074845B}" destId="{9F56EB8E-F4F6-4D81-B6D4-AA93329795D3}" srcOrd="0" destOrd="10" presId="urn:microsoft.com/office/officeart/2005/8/layout/process3"/>
    <dgm:cxn modelId="{149AC9ED-E90A-437F-A82F-D7256BF58083}" type="presOf" srcId="{5A06A1A7-B3DC-419B-BE8B-325D579D0E8B}" destId="{13DD2ECA-B201-4566-B88D-D3215D195D0F}" srcOrd="0" destOrd="11" presId="urn:microsoft.com/office/officeart/2005/8/layout/process3"/>
    <dgm:cxn modelId="{B58064EE-4D85-41C9-964F-2E161C7DBF9C}" srcId="{A0187C38-C525-49CA-89C4-431173B21DB1}" destId="{3D58D058-ABA2-46F8-8647-820F3F29EA2E}" srcOrd="0" destOrd="0" parTransId="{9622CBDF-E5C1-4E82-A5E3-DE558033B97F}" sibTransId="{9EAFF799-B154-4F09-9CE5-13C029A66A28}"/>
    <dgm:cxn modelId="{4CA252EE-62D9-4F94-8BE4-6E88AFF20E9B}" srcId="{6ED259D4-000F-4D87-B9F1-FEFF0074845B}" destId="{0A50C411-5396-4464-9158-690F90666C9C}" srcOrd="1" destOrd="0" parTransId="{478964FF-5127-4323-A8EB-75252722E275}" sibTransId="{6F173974-41EC-4BDB-AC9F-249C396DA11B}"/>
    <dgm:cxn modelId="{CDFC98EE-0EF0-4187-A1BA-AF6B8EE3947D}" srcId="{A0187C38-C525-49CA-89C4-431173B21DB1}" destId="{07214D42-65E2-4175-949E-FAC8D69177B2}" srcOrd="1" destOrd="0" parTransId="{28805552-F9A1-49BA-94C5-5FF35F42D6C9}" sibTransId="{0261FB28-D3A3-463D-9C67-E6A38484E29B}"/>
    <dgm:cxn modelId="{89271FEF-055D-41BE-AF6B-A2A9902969EF}" type="presOf" srcId="{CAA40DF4-6F3C-4343-94A7-81DD95635DA2}" destId="{F6192895-9B36-44D5-BBA6-909EF9FC88FE}" srcOrd="0" destOrd="19" presId="urn:microsoft.com/office/officeart/2005/8/layout/process3"/>
    <dgm:cxn modelId="{A234D2EF-1F3A-4756-A716-5371E4E1056E}" type="presOf" srcId="{B7054FFF-AC9F-4962-8389-1D9DF861AA30}" destId="{C12BFE99-4B4B-4615-BB93-4E1D0BA699F0}" srcOrd="0" destOrd="0" presId="urn:microsoft.com/office/officeart/2005/8/layout/process3"/>
    <dgm:cxn modelId="{10A9F7EF-4099-403B-9CE3-8D91FE9066FD}" type="presOf" srcId="{8E6B5F5F-4636-4754-95EA-86E387D562A6}" destId="{F6192895-9B36-44D5-BBA6-909EF9FC88FE}" srcOrd="0" destOrd="3" presId="urn:microsoft.com/office/officeart/2005/8/layout/process3"/>
    <dgm:cxn modelId="{BBA66EF0-82EB-4CF7-9426-1FC2B5BF1067}" srcId="{F36219F5-4E3A-4ED5-AD34-F4D77A918CD9}" destId="{FD89D887-F042-4699-A3AC-281D46F92B8C}" srcOrd="5" destOrd="0" parTransId="{2697AC10-75BF-410B-9C1B-AA34CEB9906B}" sibTransId="{E3736F8D-1D97-4D62-B66A-941DF3F42EE5}"/>
    <dgm:cxn modelId="{CFBD97F1-F519-4174-9960-9BD79057D3C7}" type="presOf" srcId="{EE219F0F-9804-43DC-BC40-459840E0529E}" destId="{48B9CA8A-4DA7-4C02-A8D0-3CAF7BAEE254}" srcOrd="1" destOrd="0" presId="urn:microsoft.com/office/officeart/2005/8/layout/process3"/>
    <dgm:cxn modelId="{DD8DCFF3-D43B-4008-8B95-49174B138565}" type="presOf" srcId="{3D58D058-ABA2-46F8-8647-820F3F29EA2E}" destId="{0669C921-59F5-4DC5-A251-46C733FB9158}" srcOrd="0" destOrd="10" presId="urn:microsoft.com/office/officeart/2005/8/layout/process3"/>
    <dgm:cxn modelId="{6C7FC9F5-75F9-44AA-B62D-04257B48FC96}" type="presOf" srcId="{F09B6826-F89E-40C8-8252-561D8141195E}" destId="{F6192895-9B36-44D5-BBA6-909EF9FC88FE}" srcOrd="0" destOrd="11" presId="urn:microsoft.com/office/officeart/2005/8/layout/process3"/>
    <dgm:cxn modelId="{1807EFF6-F641-44C8-8A60-41FB6217A4D1}" srcId="{7B55F80F-D03A-49C5-A8D7-9481494C9CF6}" destId="{68A2CF2C-4B6F-4859-B16A-69D38669E17E}" srcOrd="9" destOrd="0" parTransId="{7AF95D56-6A3D-46A9-B875-A04EB89B8F93}" sibTransId="{371DAC4E-180E-4C3A-8133-82E6D2BBA128}"/>
    <dgm:cxn modelId="{DE8456F7-E1FE-489D-AB5B-4C1F9357DF28}" type="presOf" srcId="{7F8261F6-DFBC-4EF1-ACAF-5A87D6BECD57}" destId="{F6192895-9B36-44D5-BBA6-909EF9FC88FE}" srcOrd="0" destOrd="12" presId="urn:microsoft.com/office/officeart/2005/8/layout/process3"/>
    <dgm:cxn modelId="{C925C7F7-5976-41FE-A52D-8B40E953440F}" type="presOf" srcId="{A9874AF0-4739-4437-821A-6CFD277CB4E9}" destId="{586B0788-0807-42D0-94BF-671192857049}" srcOrd="0" destOrd="0" presId="urn:microsoft.com/office/officeart/2005/8/layout/process3"/>
    <dgm:cxn modelId="{A451FAF7-6914-4416-A693-D72DA0B4EA9A}" srcId="{B7054FFF-AC9F-4962-8389-1D9DF861AA30}" destId="{8E6B5F5F-4636-4754-95EA-86E387D562A6}" srcOrd="3" destOrd="0" parTransId="{6B18C845-447E-4030-8510-6D40417699A2}" sibTransId="{28F393A1-341B-4A2F-A986-EB8E06A5B698}"/>
    <dgm:cxn modelId="{A63982F8-E20F-4324-BD17-311A6A2A4785}" srcId="{7B55F80F-D03A-49C5-A8D7-9481494C9CF6}" destId="{CCD3FB6C-F68F-4998-8A7B-93F336528755}" srcOrd="8" destOrd="0" parTransId="{52D1D164-BDCC-44A1-B822-34530FEABEA5}" sibTransId="{91A99A83-E9F7-4BE0-9C5E-755450BD2CC0}"/>
    <dgm:cxn modelId="{8C7325F9-2973-41BF-B52B-91C3DF565E59}" type="presOf" srcId="{FD89D887-F042-4699-A3AC-281D46F92B8C}" destId="{D91BB7DC-6104-42B5-A173-AE9AD32463B9}" srcOrd="1" destOrd="0" presId="urn:microsoft.com/office/officeart/2005/8/layout/process3"/>
    <dgm:cxn modelId="{353CD5F9-7AFE-4188-9050-0061E7325367}" srcId="{6ED259D4-000F-4D87-B9F1-FEFF0074845B}" destId="{0228F531-196E-4FE1-80D1-FA3A81532298}" srcOrd="0" destOrd="0" parTransId="{DD093378-4A37-497A-BC89-9E67B5C40245}" sibTransId="{C3B00A6F-205D-4CA9-B45D-46F3B82E6177}"/>
    <dgm:cxn modelId="{68AF64FA-5A10-49C9-A5BE-61054170AAE3}" srcId="{A9874AF0-4739-4437-821A-6CFD277CB4E9}" destId="{D858E37E-603A-4038-8A90-07B918878C09}" srcOrd="1" destOrd="0" parTransId="{CD4999E3-6381-4C06-969F-E2CDFD62194C}" sibTransId="{890B5B93-3B56-4443-B110-A6DEDF1662C5}"/>
    <dgm:cxn modelId="{DC5CD2FB-3089-4D56-A927-3E6935C2B180}" srcId="{5F5C2A2F-8E10-44E7-AFCF-BA2B2A5C8B93}" destId="{D9B2DC80-F37D-4A6A-A6F6-46C145F46572}" srcOrd="0" destOrd="0" parTransId="{DC70A2B8-E88D-4881-8C25-258E83A7B40E}" sibTransId="{4C8E4E02-F023-4770-9112-32C58E194DFD}"/>
    <dgm:cxn modelId="{9D5663FC-DD13-4C5E-9BAD-53FFD586692F}" type="presOf" srcId="{EC84C51B-5C5B-4E1A-B401-4DDA438550C6}" destId="{F6192895-9B36-44D5-BBA6-909EF9FC88FE}" srcOrd="0" destOrd="15" presId="urn:microsoft.com/office/officeart/2005/8/layout/process3"/>
    <dgm:cxn modelId="{D26192FC-8CDD-4C00-A485-3624F02838FD}" srcId="{FD89D887-F042-4699-A3AC-281D46F92B8C}" destId="{FAB15925-61F4-478E-86EB-250F299E6E94}" srcOrd="17" destOrd="0" parTransId="{3DA1E0D4-6644-4112-AAC9-EA3C05573771}" sibTransId="{D716C3F1-B407-4563-A5D4-801E3F345EB0}"/>
    <dgm:cxn modelId="{B22376FE-E6DF-42DA-8ED3-79FA9B78C04F}" type="presOf" srcId="{3CC91067-A5B8-4CA5-BF09-C3DAF24162F3}" destId="{13DD2ECA-B201-4566-B88D-D3215D195D0F}" srcOrd="0" destOrd="14" presId="urn:microsoft.com/office/officeart/2005/8/layout/process3"/>
    <dgm:cxn modelId="{A4F362FF-0095-4636-BC0D-1B462BF7D900}" type="presOf" srcId="{CCD3FB6C-F68F-4998-8A7B-93F336528755}" destId="{13DD2ECA-B201-4566-B88D-D3215D195D0F}" srcOrd="0" destOrd="8" presId="urn:microsoft.com/office/officeart/2005/8/layout/process3"/>
    <dgm:cxn modelId="{FDC91DF8-9774-4B0B-862A-E4D18863B0CF}" type="presParOf" srcId="{7183C6B3-D2E6-431F-BD8E-5A921DFB8892}" destId="{5B4BB756-C317-4EA0-9F02-A47F40D8D1A4}" srcOrd="0" destOrd="0" presId="urn:microsoft.com/office/officeart/2005/8/layout/process3"/>
    <dgm:cxn modelId="{BEAA4BB8-04A6-4390-BCEB-25F8AB8F1EE0}" type="presParOf" srcId="{5B4BB756-C317-4EA0-9F02-A47F40D8D1A4}" destId="{DDDE01ED-CFC5-4356-A354-B1FA2BD7C89B}" srcOrd="0" destOrd="0" presId="urn:microsoft.com/office/officeart/2005/8/layout/process3"/>
    <dgm:cxn modelId="{A4A96574-9300-49FB-89EA-653DAEBC03FE}" type="presParOf" srcId="{5B4BB756-C317-4EA0-9F02-A47F40D8D1A4}" destId="{162BDA6A-4DB3-4EB3-9861-C7FBE0C310DC}" srcOrd="1" destOrd="0" presId="urn:microsoft.com/office/officeart/2005/8/layout/process3"/>
    <dgm:cxn modelId="{B76AF142-6768-4541-9856-48FF0C805E24}" type="presParOf" srcId="{5B4BB756-C317-4EA0-9F02-A47F40D8D1A4}" destId="{13DD2ECA-B201-4566-B88D-D3215D195D0F}" srcOrd="2" destOrd="0" presId="urn:microsoft.com/office/officeart/2005/8/layout/process3"/>
    <dgm:cxn modelId="{7A5176AA-8D83-4A47-AB1D-4CB16ADA56CC}" type="presParOf" srcId="{7183C6B3-D2E6-431F-BD8E-5A921DFB8892}" destId="{853CD93D-6677-4C3D-8A3B-22B6CC114911}" srcOrd="1" destOrd="0" presId="urn:microsoft.com/office/officeart/2005/8/layout/process3"/>
    <dgm:cxn modelId="{3AC364F8-803B-46D0-831A-1C447DD8193F}" type="presParOf" srcId="{853CD93D-6677-4C3D-8A3B-22B6CC114911}" destId="{DA7D2E6B-2222-4DF2-A053-190B3C1E85AB}" srcOrd="0" destOrd="0" presId="urn:microsoft.com/office/officeart/2005/8/layout/process3"/>
    <dgm:cxn modelId="{025476A3-CA06-4591-BEEA-5E14C4E451D8}" type="presParOf" srcId="{7183C6B3-D2E6-431F-BD8E-5A921DFB8892}" destId="{6A8EB253-44ED-4A1D-8F6C-55C1B3E8ED6C}" srcOrd="2" destOrd="0" presId="urn:microsoft.com/office/officeart/2005/8/layout/process3"/>
    <dgm:cxn modelId="{7CCCB666-26C3-4B34-B34D-1C09D4CBE085}" type="presParOf" srcId="{6A8EB253-44ED-4A1D-8F6C-55C1B3E8ED6C}" destId="{689F9CB0-B70F-476D-B1F5-D377AD85996C}" srcOrd="0" destOrd="0" presId="urn:microsoft.com/office/officeart/2005/8/layout/process3"/>
    <dgm:cxn modelId="{52C2AB2D-C518-4954-A609-BC5632132F42}" type="presParOf" srcId="{6A8EB253-44ED-4A1D-8F6C-55C1B3E8ED6C}" destId="{B19E1753-C94C-4C9B-9E16-AB99D80530EE}" srcOrd="1" destOrd="0" presId="urn:microsoft.com/office/officeart/2005/8/layout/process3"/>
    <dgm:cxn modelId="{04D4B873-ADB3-4C05-881F-C2B7EBCC3B49}" type="presParOf" srcId="{6A8EB253-44ED-4A1D-8F6C-55C1B3E8ED6C}" destId="{9F56EB8E-F4F6-4D81-B6D4-AA93329795D3}" srcOrd="2" destOrd="0" presId="urn:microsoft.com/office/officeart/2005/8/layout/process3"/>
    <dgm:cxn modelId="{A6FF8ECC-F559-43ED-AF54-AE3F51F0743E}" type="presParOf" srcId="{7183C6B3-D2E6-431F-BD8E-5A921DFB8892}" destId="{D3EB4889-42CB-4DE9-B962-9B5DB3CD08A2}" srcOrd="3" destOrd="0" presId="urn:microsoft.com/office/officeart/2005/8/layout/process3"/>
    <dgm:cxn modelId="{CCB2A014-E5A6-4D88-B3B2-AD0CD5D41087}" type="presParOf" srcId="{D3EB4889-42CB-4DE9-B962-9B5DB3CD08A2}" destId="{48B9CA8A-4DA7-4C02-A8D0-3CAF7BAEE254}" srcOrd="0" destOrd="0" presId="urn:microsoft.com/office/officeart/2005/8/layout/process3"/>
    <dgm:cxn modelId="{1244A9E7-58AA-4191-8BCA-659322718BCB}" type="presParOf" srcId="{7183C6B3-D2E6-431F-BD8E-5A921DFB8892}" destId="{1D828D4C-C1C4-480B-9110-07A541BC2A6F}" srcOrd="4" destOrd="0" presId="urn:microsoft.com/office/officeart/2005/8/layout/process3"/>
    <dgm:cxn modelId="{75AAC66B-294B-4DEE-B9B2-60867EE0A396}" type="presParOf" srcId="{1D828D4C-C1C4-480B-9110-07A541BC2A6F}" destId="{13FE6A85-E76D-4A6D-B8D0-DB8BF35B6EEB}" srcOrd="0" destOrd="0" presId="urn:microsoft.com/office/officeart/2005/8/layout/process3"/>
    <dgm:cxn modelId="{F79C731D-F6B0-4E41-96C4-739F35C560A9}" type="presParOf" srcId="{1D828D4C-C1C4-480B-9110-07A541BC2A6F}" destId="{567B9D7A-CEE5-401C-AE76-6AC7797721EB}" srcOrd="1" destOrd="0" presId="urn:microsoft.com/office/officeart/2005/8/layout/process3"/>
    <dgm:cxn modelId="{BA122369-39ED-481C-B279-D33A44E2477D}" type="presParOf" srcId="{1D828D4C-C1C4-480B-9110-07A541BC2A6F}" destId="{586B0788-0807-42D0-94BF-671192857049}" srcOrd="2" destOrd="0" presId="urn:microsoft.com/office/officeart/2005/8/layout/process3"/>
    <dgm:cxn modelId="{551003E0-5503-43AB-B568-00503F815C6A}" type="presParOf" srcId="{7183C6B3-D2E6-431F-BD8E-5A921DFB8892}" destId="{68893F64-8BD6-4996-8CCF-6F9CD340CCCE}" srcOrd="5" destOrd="0" presId="urn:microsoft.com/office/officeart/2005/8/layout/process3"/>
    <dgm:cxn modelId="{0A7CB329-03E6-45E2-9906-1BD0A00B99C7}" type="presParOf" srcId="{68893F64-8BD6-4996-8CCF-6F9CD340CCCE}" destId="{84FCDB1F-2E17-4291-B3D5-5D0E934D4BDE}" srcOrd="0" destOrd="0" presId="urn:microsoft.com/office/officeart/2005/8/layout/process3"/>
    <dgm:cxn modelId="{E19DB4FB-E931-4A1F-9A6A-BFF1B2E8D073}" type="presParOf" srcId="{7183C6B3-D2E6-431F-BD8E-5A921DFB8892}" destId="{79D4919C-68EA-481C-87EB-05E43E2A0736}" srcOrd="6" destOrd="0" presId="urn:microsoft.com/office/officeart/2005/8/layout/process3"/>
    <dgm:cxn modelId="{DABD5C95-0F53-4DCE-9CCC-ED206F3350CF}" type="presParOf" srcId="{79D4919C-68EA-481C-87EB-05E43E2A0736}" destId="{72140365-14EF-4FA6-B811-B0871364D70A}" srcOrd="0" destOrd="0" presId="urn:microsoft.com/office/officeart/2005/8/layout/process3"/>
    <dgm:cxn modelId="{4F25CDA7-9E75-4AB3-B41D-25F208329D75}" type="presParOf" srcId="{79D4919C-68EA-481C-87EB-05E43E2A0736}" destId="{59EAB24A-291E-47C2-A5C3-E7DEF422E725}" srcOrd="1" destOrd="0" presId="urn:microsoft.com/office/officeart/2005/8/layout/process3"/>
    <dgm:cxn modelId="{CB724D1A-27D7-4DA7-A95A-5DBF374193DF}" type="presParOf" srcId="{79D4919C-68EA-481C-87EB-05E43E2A0736}" destId="{0669C921-59F5-4DC5-A251-46C733FB9158}" srcOrd="2" destOrd="0" presId="urn:microsoft.com/office/officeart/2005/8/layout/process3"/>
    <dgm:cxn modelId="{CEFB6B98-7F7E-467B-A1FD-FCB6EFCCC3CA}" type="presParOf" srcId="{7183C6B3-D2E6-431F-BD8E-5A921DFB8892}" destId="{F7EBA96A-8468-490B-A7E3-3F27699DBA40}" srcOrd="7" destOrd="0" presId="urn:microsoft.com/office/officeart/2005/8/layout/process3"/>
    <dgm:cxn modelId="{C7BA2A81-B8BB-4EEF-A93F-942696CDC2A1}" type="presParOf" srcId="{F7EBA96A-8468-490B-A7E3-3F27699DBA40}" destId="{10473C48-7770-43CE-987B-A86BE34275C2}" srcOrd="0" destOrd="0" presId="urn:microsoft.com/office/officeart/2005/8/layout/process3"/>
    <dgm:cxn modelId="{89C58F4A-25E6-4A72-B34E-23A53E1A6098}" type="presParOf" srcId="{7183C6B3-D2E6-431F-BD8E-5A921DFB8892}" destId="{BAC3C859-B56C-4FCE-B1D2-1FB77A59732F}" srcOrd="8" destOrd="0" presId="urn:microsoft.com/office/officeart/2005/8/layout/process3"/>
    <dgm:cxn modelId="{C004AE97-4218-4C48-B43A-6370420ED24B}" type="presParOf" srcId="{BAC3C859-B56C-4FCE-B1D2-1FB77A59732F}" destId="{C12BFE99-4B4B-4615-BB93-4E1D0BA699F0}" srcOrd="0" destOrd="0" presId="urn:microsoft.com/office/officeart/2005/8/layout/process3"/>
    <dgm:cxn modelId="{19EA72C8-06B4-497E-A978-B383BAD31855}" type="presParOf" srcId="{BAC3C859-B56C-4FCE-B1D2-1FB77A59732F}" destId="{1D0D5F59-278E-48E8-B214-2BBCE65EB26C}" srcOrd="1" destOrd="0" presId="urn:microsoft.com/office/officeart/2005/8/layout/process3"/>
    <dgm:cxn modelId="{0C13D18D-90EA-4553-AD3E-E3A46DD9C3CB}" type="presParOf" srcId="{BAC3C859-B56C-4FCE-B1D2-1FB77A59732F}" destId="{F6192895-9B36-44D5-BBA6-909EF9FC88FE}" srcOrd="2" destOrd="0" presId="urn:microsoft.com/office/officeart/2005/8/layout/process3"/>
    <dgm:cxn modelId="{C9ACB5D4-42B4-4132-930E-226A44291791}" type="presParOf" srcId="{7183C6B3-D2E6-431F-BD8E-5A921DFB8892}" destId="{8F9BA08E-A8C6-400A-803B-C91A1246744E}" srcOrd="9" destOrd="0" presId="urn:microsoft.com/office/officeart/2005/8/layout/process3"/>
    <dgm:cxn modelId="{BCED97BD-DE0F-4840-8768-BADFFEC8B3F4}" type="presParOf" srcId="{8F9BA08E-A8C6-400A-803B-C91A1246744E}" destId="{B62C3158-7693-4319-97AB-99F2E4B26E44}" srcOrd="0" destOrd="0" presId="urn:microsoft.com/office/officeart/2005/8/layout/process3"/>
    <dgm:cxn modelId="{D922FB50-2612-42DC-8A6C-23D0CC610F96}" type="presParOf" srcId="{7183C6B3-D2E6-431F-BD8E-5A921DFB8892}" destId="{F03D771A-44DF-4380-A868-86EFBFE0FC1F}" srcOrd="10" destOrd="0" presId="urn:microsoft.com/office/officeart/2005/8/layout/process3"/>
    <dgm:cxn modelId="{A44FE579-F6A6-43CC-B95B-54D16B79C61E}" type="presParOf" srcId="{F03D771A-44DF-4380-A868-86EFBFE0FC1F}" destId="{150D3382-2C5C-4E5C-A9CF-9674A0866413}" srcOrd="0" destOrd="0" presId="urn:microsoft.com/office/officeart/2005/8/layout/process3"/>
    <dgm:cxn modelId="{3A160E60-26AB-404A-A498-F80EDD8672A6}" type="presParOf" srcId="{F03D771A-44DF-4380-A868-86EFBFE0FC1F}" destId="{D91BB7DC-6104-42B5-A173-AE9AD32463B9}" srcOrd="1" destOrd="0" presId="urn:microsoft.com/office/officeart/2005/8/layout/process3"/>
    <dgm:cxn modelId="{6632DADB-9DF1-4E7E-8D84-13E7A187F518}" type="presParOf" srcId="{F03D771A-44DF-4380-A868-86EFBFE0FC1F}" destId="{C04EEA18-B049-4BCB-9DA0-0C7FA3C244DE}" srcOrd="2" destOrd="0" presId="urn:microsoft.com/office/officeart/2005/8/layout/process3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62BDA6A-4DB3-4EB3-9861-C7FBE0C310DC}">
      <dsp:nvSpPr>
        <dsp:cNvPr id="0" name=""/>
        <dsp:cNvSpPr/>
      </dsp:nvSpPr>
      <dsp:spPr>
        <a:xfrm>
          <a:off x="2920" y="311289"/>
          <a:ext cx="1239382" cy="57807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3810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1. Understand  reasons</a:t>
          </a:r>
          <a:endParaRPr lang="nl-NL" sz="1000" kern="1200" dirty="0"/>
        </a:p>
      </dsp:txBody>
      <dsp:txXfrm>
        <a:off x="2920" y="311289"/>
        <a:ext cx="1239382" cy="385384"/>
      </dsp:txXfrm>
    </dsp:sp>
    <dsp:sp modelId="{13DD2ECA-B201-4566-B88D-D3215D195D0F}">
      <dsp:nvSpPr>
        <dsp:cNvPr id="0" name=""/>
        <dsp:cNvSpPr/>
      </dsp:nvSpPr>
      <dsp:spPr>
        <a:xfrm>
          <a:off x="256770" y="696674"/>
          <a:ext cx="1239382" cy="44107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 </a:t>
          </a:r>
          <a:r>
            <a:rPr lang="en-US" sz="1000" b="1" kern="1200" dirty="0"/>
            <a:t>Safety</a:t>
          </a:r>
          <a:endParaRPr lang="nl-NL" sz="1000" b="1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 </a:t>
          </a:r>
          <a:r>
            <a:rPr lang="en-US" sz="1000" b="1" kern="1200"/>
            <a:t>Quality</a:t>
          </a:r>
          <a:endParaRPr lang="nl-NL" sz="1000" b="1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 </a:t>
          </a:r>
          <a:r>
            <a:rPr lang="en-US" sz="1000" b="1" kern="1200"/>
            <a:t>Compliancy</a:t>
          </a:r>
          <a:endParaRPr lang="nl-NL" sz="1000" b="1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 </a:t>
          </a:r>
          <a:r>
            <a:rPr lang="en-US" sz="1000" b="1" kern="1200"/>
            <a:t>Operational</a:t>
          </a:r>
          <a:endParaRPr lang="nl-NL" sz="1000" b="1" kern="1200"/>
        </a:p>
      </dsp:txBody>
      <dsp:txXfrm>
        <a:off x="293070" y="732974"/>
        <a:ext cx="1166782" cy="4338103"/>
      </dsp:txXfrm>
    </dsp:sp>
    <dsp:sp modelId="{853CD93D-6677-4C3D-8A3B-22B6CC114911}">
      <dsp:nvSpPr>
        <dsp:cNvPr id="0" name=""/>
        <dsp:cNvSpPr/>
      </dsp:nvSpPr>
      <dsp:spPr>
        <a:xfrm>
          <a:off x="1430189" y="349696"/>
          <a:ext cx="398318" cy="30857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l-NL" sz="800" kern="1200"/>
        </a:p>
      </dsp:txBody>
      <dsp:txXfrm>
        <a:off x="1430189" y="411410"/>
        <a:ext cx="305747" cy="185142"/>
      </dsp:txXfrm>
    </dsp:sp>
    <dsp:sp modelId="{B19E1753-C94C-4C9B-9E16-AB99D80530EE}">
      <dsp:nvSpPr>
        <dsp:cNvPr id="0" name=""/>
        <dsp:cNvSpPr/>
      </dsp:nvSpPr>
      <dsp:spPr>
        <a:xfrm>
          <a:off x="1993847" y="311289"/>
          <a:ext cx="1239382" cy="57807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3810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2. Understand basics</a:t>
          </a:r>
          <a:endParaRPr lang="nl-NL" sz="1000" kern="1200" dirty="0"/>
        </a:p>
      </dsp:txBody>
      <dsp:txXfrm>
        <a:off x="1993847" y="311289"/>
        <a:ext cx="1239382" cy="385384"/>
      </dsp:txXfrm>
    </dsp:sp>
    <dsp:sp modelId="{9F56EB8E-F4F6-4D81-B6D4-AA93329795D3}">
      <dsp:nvSpPr>
        <dsp:cNvPr id="0" name=""/>
        <dsp:cNvSpPr/>
      </dsp:nvSpPr>
      <dsp:spPr>
        <a:xfrm>
          <a:off x="2247696" y="696674"/>
          <a:ext cx="1239382" cy="44107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 </a:t>
          </a:r>
          <a:r>
            <a:rPr lang="en-US" sz="1000" b="1" kern="1200"/>
            <a:t>G-forces</a:t>
          </a:r>
          <a:endParaRPr lang="nl-NL" sz="1000" b="1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 </a:t>
          </a:r>
          <a:r>
            <a:rPr lang="en-US" sz="1000" b="1" kern="1200"/>
            <a:t>Responsibilities</a:t>
          </a:r>
          <a:endParaRPr lang="nl-NL" sz="1000" b="1" kern="1200"/>
        </a:p>
        <a:p>
          <a:pPr marL="114300" lvl="2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 </a:t>
          </a:r>
          <a:r>
            <a:rPr lang="en-US" sz="1000" u="sng" kern="1200"/>
            <a:t>Shipper</a:t>
          </a:r>
          <a:r>
            <a:rPr lang="en-US" sz="1000" kern="1200"/>
            <a:t>:</a:t>
          </a:r>
          <a:endParaRPr lang="nl-NL" sz="1000" kern="1200"/>
        </a:p>
        <a:p>
          <a:pPr marL="171450" lvl="3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 Stable shipping unit</a:t>
          </a:r>
          <a:endParaRPr lang="nl-NL" sz="1000" kern="1200"/>
        </a:p>
        <a:p>
          <a:pPr marL="171450" lvl="3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 </a:t>
          </a:r>
          <a:r>
            <a:rPr lang="en-US" sz="1000" i="1" kern="1200"/>
            <a:t>Enabler</a:t>
          </a:r>
          <a:endParaRPr lang="nl-NL" sz="1000" i="1" kern="1200"/>
        </a:p>
        <a:p>
          <a:pPr marL="114300" lvl="2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 </a:t>
          </a:r>
          <a:r>
            <a:rPr lang="en-US" sz="1000" u="sng" kern="1200"/>
            <a:t>Carrier</a:t>
          </a:r>
          <a:r>
            <a:rPr lang="en-US" sz="1000" kern="1200"/>
            <a:t>:</a:t>
          </a:r>
          <a:endParaRPr lang="nl-NL" sz="1000" kern="1200"/>
        </a:p>
        <a:p>
          <a:pPr marL="171450" lvl="3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 Equipment</a:t>
          </a:r>
          <a:endParaRPr lang="nl-NL" sz="1000" kern="1200"/>
        </a:p>
        <a:p>
          <a:pPr marL="171450" lvl="3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 </a:t>
          </a:r>
          <a:r>
            <a:rPr lang="en-US" sz="1000" i="1" kern="1200"/>
            <a:t>Executer</a:t>
          </a:r>
          <a:endParaRPr lang="nl-NL" sz="1000" i="1" kern="1200"/>
        </a:p>
        <a:p>
          <a:pPr marL="171450" lvl="3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 </a:t>
          </a:r>
          <a:r>
            <a:rPr lang="en-US" sz="1000" b="1" kern="1200"/>
            <a:t>Securing method</a:t>
          </a:r>
          <a:endParaRPr lang="nl-NL" sz="1000" b="1" kern="1200"/>
        </a:p>
      </dsp:txBody>
      <dsp:txXfrm>
        <a:off x="2283996" y="732974"/>
        <a:ext cx="1166782" cy="4338103"/>
      </dsp:txXfrm>
    </dsp:sp>
    <dsp:sp modelId="{D3EB4889-42CB-4DE9-B962-9B5DB3CD08A2}">
      <dsp:nvSpPr>
        <dsp:cNvPr id="0" name=""/>
        <dsp:cNvSpPr/>
      </dsp:nvSpPr>
      <dsp:spPr>
        <a:xfrm>
          <a:off x="3421116" y="349696"/>
          <a:ext cx="398318" cy="30857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l-NL" sz="800" kern="1200"/>
        </a:p>
      </dsp:txBody>
      <dsp:txXfrm>
        <a:off x="3421116" y="411410"/>
        <a:ext cx="305747" cy="185142"/>
      </dsp:txXfrm>
    </dsp:sp>
    <dsp:sp modelId="{567B9D7A-CEE5-401C-AE76-6AC7797721EB}">
      <dsp:nvSpPr>
        <dsp:cNvPr id="0" name=""/>
        <dsp:cNvSpPr/>
      </dsp:nvSpPr>
      <dsp:spPr>
        <a:xfrm>
          <a:off x="3984774" y="311289"/>
          <a:ext cx="1239382" cy="57807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3810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3. Ensure stability shipping unit</a:t>
          </a:r>
          <a:endParaRPr lang="nl-NL" sz="1000" kern="1200" dirty="0"/>
        </a:p>
      </dsp:txBody>
      <dsp:txXfrm>
        <a:off x="3984774" y="311289"/>
        <a:ext cx="1239382" cy="385384"/>
      </dsp:txXfrm>
    </dsp:sp>
    <dsp:sp modelId="{586B0788-0807-42D0-94BF-671192857049}">
      <dsp:nvSpPr>
        <dsp:cNvPr id="0" name=""/>
        <dsp:cNvSpPr/>
      </dsp:nvSpPr>
      <dsp:spPr>
        <a:xfrm>
          <a:off x="4238623" y="696674"/>
          <a:ext cx="1239382" cy="44107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 </a:t>
          </a:r>
          <a:r>
            <a:rPr lang="en-US" sz="1000" b="1" kern="1200" dirty="0"/>
            <a:t>Create</a:t>
          </a:r>
          <a:r>
            <a:rPr lang="en-US" sz="1000" kern="1200" dirty="0"/>
            <a:t> </a:t>
          </a:r>
          <a:r>
            <a:rPr lang="en-US" sz="1000" b="1" kern="1200" dirty="0"/>
            <a:t>stable shipping unit</a:t>
          </a:r>
          <a:endParaRPr lang="nl-NL" sz="1000" b="1" kern="1200" dirty="0"/>
        </a:p>
        <a:p>
          <a:pPr marL="114300" lvl="2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Palletized</a:t>
          </a:r>
          <a:endParaRPr lang="nl-NL" sz="1000" kern="1200"/>
        </a:p>
        <a:p>
          <a:pPr marL="114300" lvl="2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Packages secured together and to pallet, in line with pallet dimensions following:</a:t>
          </a:r>
          <a:endParaRPr lang="nl-NL" sz="1000" kern="1200" dirty="0"/>
        </a:p>
        <a:p>
          <a:pPr marL="171450" lvl="3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Instructions packaging supplier </a:t>
          </a:r>
          <a:r>
            <a:rPr lang="en-US" sz="900" i="1" kern="1200" dirty="0"/>
            <a:t>or by</a:t>
          </a:r>
          <a:endParaRPr lang="nl-NL" sz="900" i="1" kern="1200" dirty="0"/>
        </a:p>
        <a:p>
          <a:pPr marL="171450" lvl="3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Banding </a:t>
          </a:r>
          <a:r>
            <a:rPr lang="en-US" sz="900" i="1" kern="1200" dirty="0"/>
            <a:t>or by</a:t>
          </a:r>
          <a:endParaRPr lang="nl-NL" sz="900" i="1" kern="1200" dirty="0"/>
        </a:p>
        <a:p>
          <a:pPr marL="171450" lvl="3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Strapping </a:t>
          </a:r>
          <a:r>
            <a:rPr lang="en-US" sz="900" i="1" kern="1200" dirty="0"/>
            <a:t>or by</a:t>
          </a:r>
          <a:endParaRPr lang="nl-NL" sz="900" i="1" kern="1200" dirty="0"/>
        </a:p>
        <a:p>
          <a:pPr marL="171450" lvl="3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 dirty="0"/>
            <a:t>Stretch/shrink wrapping</a:t>
          </a:r>
          <a:endParaRPr lang="nl-NL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</dsp:txBody>
      <dsp:txXfrm>
        <a:off x="4274923" y="732974"/>
        <a:ext cx="1166782" cy="4338103"/>
      </dsp:txXfrm>
    </dsp:sp>
    <dsp:sp modelId="{68893F64-8BD6-4996-8CCF-6F9CD340CCCE}">
      <dsp:nvSpPr>
        <dsp:cNvPr id="0" name=""/>
        <dsp:cNvSpPr/>
      </dsp:nvSpPr>
      <dsp:spPr>
        <a:xfrm>
          <a:off x="5412042" y="349696"/>
          <a:ext cx="398318" cy="30857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l-NL" sz="800" kern="1200"/>
        </a:p>
      </dsp:txBody>
      <dsp:txXfrm>
        <a:off x="5412042" y="411410"/>
        <a:ext cx="305747" cy="185142"/>
      </dsp:txXfrm>
    </dsp:sp>
    <dsp:sp modelId="{59EAB24A-291E-47C2-A5C3-E7DEF422E725}">
      <dsp:nvSpPr>
        <dsp:cNvPr id="0" name=""/>
        <dsp:cNvSpPr/>
      </dsp:nvSpPr>
      <dsp:spPr>
        <a:xfrm>
          <a:off x="5975700" y="311289"/>
          <a:ext cx="1239382" cy="57807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3810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4. Transport mode</a:t>
          </a:r>
          <a:endParaRPr lang="nl-NL" sz="1000" kern="1200"/>
        </a:p>
      </dsp:txBody>
      <dsp:txXfrm>
        <a:off x="5975700" y="311289"/>
        <a:ext cx="1239382" cy="385384"/>
      </dsp:txXfrm>
    </dsp:sp>
    <dsp:sp modelId="{0669C921-59F5-4DC5-A251-46C733FB9158}">
      <dsp:nvSpPr>
        <dsp:cNvPr id="0" name=""/>
        <dsp:cNvSpPr/>
      </dsp:nvSpPr>
      <dsp:spPr>
        <a:xfrm>
          <a:off x="6229550" y="696674"/>
          <a:ext cx="1239382" cy="44107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l-NL" sz="1000" b="1" kern="1200" dirty="0"/>
            <a:t>Apply standard /practical guidance depending transport mode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dirty="0"/>
            <a:t>Road</a:t>
          </a:r>
          <a:r>
            <a:rPr lang="en-US" sz="900" kern="1200" dirty="0"/>
            <a:t> (LTL/FTL)</a:t>
          </a:r>
          <a:endParaRPr lang="nl-NL" sz="900" kern="1200" dirty="0"/>
        </a:p>
        <a:p>
          <a:pPr marL="114300" lvl="2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NA Cargo Securement Standard</a:t>
          </a:r>
          <a:endParaRPr lang="nl-NL" sz="900" kern="1200" dirty="0"/>
        </a:p>
        <a:p>
          <a:pPr marL="114300" lvl="2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EU Best Practice Guidelines on Cargo Securing</a:t>
          </a:r>
          <a:endParaRPr lang="nl-NL" sz="900" kern="1200" dirty="0"/>
        </a:p>
        <a:p>
          <a:pPr marL="114300" lvl="2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 dirty="0"/>
            <a:t>Local legislation</a:t>
          </a:r>
          <a:endParaRPr lang="nl-NL" sz="900" kern="1200" dirty="0"/>
        </a:p>
        <a:p>
          <a:pPr marL="114300" lvl="2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900" kern="1200"/>
        </a:p>
        <a:p>
          <a:pPr marL="114300" lvl="2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900" kern="1200" dirty="0"/>
        </a:p>
        <a:p>
          <a:pPr marL="114300" lvl="2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900" kern="1200"/>
        </a:p>
        <a:p>
          <a:pPr marL="114300" lvl="2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900" kern="120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dirty="0"/>
            <a:t>Sea</a:t>
          </a:r>
          <a:r>
            <a:rPr lang="en-US" sz="900" kern="1200" dirty="0"/>
            <a:t> (LCL/FCL)</a:t>
          </a:r>
          <a:endParaRPr lang="nl-NL" sz="900" kern="1200" dirty="0"/>
        </a:p>
        <a:p>
          <a:pPr marL="114300" lvl="2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kern="1200"/>
            <a:t> IMO CTU-Code</a:t>
          </a:r>
          <a:endParaRPr lang="nl-NL" sz="900" kern="1200"/>
        </a:p>
        <a:p>
          <a:pPr marL="114300" lvl="2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900" kern="1200" dirty="0"/>
        </a:p>
        <a:p>
          <a:pPr marL="114300" lvl="2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900" kern="1200" dirty="0"/>
        </a:p>
        <a:p>
          <a:pPr marL="114300" lvl="2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900" kern="1200" dirty="0"/>
        </a:p>
        <a:p>
          <a:pPr marL="114300" lvl="2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900" kern="1200" dirty="0"/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900" b="1" kern="1200" dirty="0"/>
            <a:t>Multi-modal</a:t>
          </a:r>
          <a:endParaRPr lang="nl-NL" sz="900" b="1" kern="1200" dirty="0"/>
        </a:p>
        <a:p>
          <a:pPr marL="114300" lvl="2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l-NL" sz="900" b="0" kern="1200" dirty="0"/>
            <a:t>All above</a:t>
          </a:r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800" b="1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800" b="1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800" b="1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800" b="1" kern="1200" dirty="0"/>
        </a:p>
        <a:p>
          <a:pPr marL="57150" lvl="1" indent="-57150" algn="l" defTabSz="3556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800" b="1" kern="1200" dirty="0"/>
        </a:p>
      </dsp:txBody>
      <dsp:txXfrm>
        <a:off x="6265850" y="732974"/>
        <a:ext cx="1166782" cy="4338103"/>
      </dsp:txXfrm>
    </dsp:sp>
    <dsp:sp modelId="{F7EBA96A-8468-490B-A7E3-3F27699DBA40}">
      <dsp:nvSpPr>
        <dsp:cNvPr id="0" name=""/>
        <dsp:cNvSpPr/>
      </dsp:nvSpPr>
      <dsp:spPr>
        <a:xfrm>
          <a:off x="7402969" y="349696"/>
          <a:ext cx="398318" cy="30857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l-NL" sz="800" kern="1200"/>
        </a:p>
      </dsp:txBody>
      <dsp:txXfrm>
        <a:off x="7402969" y="411410"/>
        <a:ext cx="305747" cy="185142"/>
      </dsp:txXfrm>
    </dsp:sp>
    <dsp:sp modelId="{1D0D5F59-278E-48E8-B214-2BBCE65EB26C}">
      <dsp:nvSpPr>
        <dsp:cNvPr id="0" name=""/>
        <dsp:cNvSpPr/>
      </dsp:nvSpPr>
      <dsp:spPr>
        <a:xfrm>
          <a:off x="7966627" y="311289"/>
          <a:ext cx="1239382" cy="57807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3810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5. Implementation</a:t>
          </a:r>
          <a:endParaRPr lang="nl-NL" sz="1000" kern="1200"/>
        </a:p>
      </dsp:txBody>
      <dsp:txXfrm>
        <a:off x="7966627" y="311289"/>
        <a:ext cx="1239382" cy="385384"/>
      </dsp:txXfrm>
    </dsp:sp>
    <dsp:sp modelId="{F6192895-9B36-44D5-BBA6-909EF9FC88FE}">
      <dsp:nvSpPr>
        <dsp:cNvPr id="0" name=""/>
        <dsp:cNvSpPr/>
      </dsp:nvSpPr>
      <dsp:spPr>
        <a:xfrm>
          <a:off x="8220476" y="696674"/>
          <a:ext cx="1239382" cy="44107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en-US" sz="1000" b="1" kern="1200"/>
            <a:t>Pre-loading check</a:t>
          </a:r>
          <a:endParaRPr lang="nl-NL" sz="1000" b="1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en-US" sz="1000" b="1" kern="1200"/>
            <a:t> “Form-fit” Loading</a:t>
          </a:r>
          <a:endParaRPr lang="nl-NL" sz="1000" b="1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en-US" sz="1000" b="1" kern="1200"/>
            <a:t> Blocking and bracing</a:t>
          </a:r>
          <a:endParaRPr lang="nl-NL" sz="1000" b="1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en-US" sz="1000" b="1" kern="1200"/>
            <a:t> Additional load securing</a:t>
          </a:r>
          <a:endParaRPr lang="nl-NL" sz="1000" b="1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+mj-lt"/>
            <a:buAutoNum type="arabicPeriod"/>
          </a:pPr>
          <a:r>
            <a:rPr lang="en-US" sz="1000" b="1" kern="1200"/>
            <a:t> Post-loading check</a:t>
          </a:r>
          <a:endParaRPr lang="nl-NL" sz="1000" b="1" kern="1200"/>
        </a:p>
      </dsp:txBody>
      <dsp:txXfrm>
        <a:off x="8256776" y="732974"/>
        <a:ext cx="1166782" cy="4338103"/>
      </dsp:txXfrm>
    </dsp:sp>
    <dsp:sp modelId="{8F9BA08E-A8C6-400A-803B-C91A1246744E}">
      <dsp:nvSpPr>
        <dsp:cNvPr id="0" name=""/>
        <dsp:cNvSpPr/>
      </dsp:nvSpPr>
      <dsp:spPr>
        <a:xfrm>
          <a:off x="9393896" y="349696"/>
          <a:ext cx="398318" cy="308570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l-NL" sz="800" kern="1200"/>
        </a:p>
      </dsp:txBody>
      <dsp:txXfrm>
        <a:off x="9393896" y="411410"/>
        <a:ext cx="305747" cy="185142"/>
      </dsp:txXfrm>
    </dsp:sp>
    <dsp:sp modelId="{D91BB7DC-6104-42B5-A173-AE9AD32463B9}">
      <dsp:nvSpPr>
        <dsp:cNvPr id="0" name=""/>
        <dsp:cNvSpPr/>
      </dsp:nvSpPr>
      <dsp:spPr>
        <a:xfrm>
          <a:off x="9957553" y="311289"/>
          <a:ext cx="1239382" cy="578076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71120" rIns="71120" bIns="38100" numCol="1" spcCol="1270" anchor="t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6. Review &amp; monitor</a:t>
          </a:r>
          <a:endParaRPr lang="nl-NL" sz="1000" kern="1200"/>
        </a:p>
      </dsp:txBody>
      <dsp:txXfrm>
        <a:off x="9957553" y="311289"/>
        <a:ext cx="1239382" cy="385384"/>
      </dsp:txXfrm>
    </dsp:sp>
    <dsp:sp modelId="{C04EEA18-B049-4BCB-9DA0-0C7FA3C244DE}">
      <dsp:nvSpPr>
        <dsp:cNvPr id="0" name=""/>
        <dsp:cNvSpPr/>
      </dsp:nvSpPr>
      <dsp:spPr>
        <a:xfrm>
          <a:off x="10211403" y="696674"/>
          <a:ext cx="1239382" cy="441070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20" tIns="71120" rIns="71120" bIns="7112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 </a:t>
          </a:r>
          <a:r>
            <a:rPr lang="en-US" sz="1000" b="1" kern="1200"/>
            <a:t>Changing legislations</a:t>
          </a:r>
          <a:endParaRPr lang="nl-NL" sz="1000" b="1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l-NL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000" kern="1200"/>
            <a:t> </a:t>
          </a:r>
          <a:r>
            <a:rPr lang="en-US" sz="1000" b="1" kern="1200"/>
            <a:t>Effectiveness check</a:t>
          </a:r>
          <a:endParaRPr lang="nl-NL" sz="1000" b="1" kern="1200"/>
        </a:p>
      </dsp:txBody>
      <dsp:txXfrm>
        <a:off x="10247703" y="732974"/>
        <a:ext cx="1166782" cy="43381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3">
  <dgm:title val=""/>
  <dgm:desc val=""/>
  <dgm:catLst>
    <dgm:cat type="process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3" destOrd="0"/>
        <dgm:cxn modelId="12" srcId="1" destId="11" srcOrd="0" destOrd="0"/>
        <dgm:cxn modelId="23" srcId="2" destId="21" srcOrd="0" destOrd="0"/>
        <dgm:cxn modelId="34" srcId="3" destId="31" srcOrd="0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osite" refType="w"/>
      <dgm:constr type="w" for="ch" ptType="sibTrans" refType="w" refFor="ch" refForName="composite" fact="0.3333"/>
      <dgm:constr type="w" for="des" forName="parTx"/>
      <dgm:constr type="h" for="des" forName="parTx" op="equ"/>
      <dgm:constr type="h" for="des" forName="parSh" op="equ"/>
      <dgm:constr type="w" for="des" forName="desTx"/>
      <dgm:constr type="h" for="des" forName="desTx" op="equ"/>
      <dgm:constr type="w" for="des" forName="parSh"/>
      <dgm:constr type="primFontSz" for="des" forName="parTx" val="65"/>
      <dgm:constr type="secFontSz" for="des" forName="desTx" refType="primFontSz" refFor="des" refForName="parTx" op="equ"/>
      <dgm:constr type="primFontSz" for="des" forName="connTx" refType="primFontSz" refFor="des" refForName="parTx" fact="0.8"/>
      <dgm:constr type="primFontSz" for="des" forName="connTx" refType="primFontSz" refFor="des" refForName="parTx" op="lte" fact="0.8"/>
      <dgm:constr type="h" for="des" forName="parTx" refType="primFontSz" refFor="des" refForName="parTx" fact="0.8"/>
      <dgm:constr type="h" for="des" forName="parSh" refType="primFontSz" refFor="des" refForName="parTx" fact="1.2"/>
      <dgm:constr type="h" for="des" forName="desTx" refType="primFontSz" refFor="des" refForName="parTx" fact="1.6"/>
      <dgm:constr type="h" for="des" forName="parSh" refType="h" refFor="des" refForName="parTx" op="lte" fact="1.5"/>
      <dgm:constr type="h" for="des" forName="parSh" refType="h" refFor="des" refForName="parTx" op="gte" fact="1.5"/>
    </dgm:constrLst>
    <dgm:ruleLst>
      <dgm:rule type="w" for="ch" forName="composite" val="0" fact="NaN" max="NaN"/>
      <dgm:rule type="primFontSz" for="des" forName="parTx" val="5" fact="NaN" max="NaN"/>
    </dgm:ruleLst>
    <dgm:forEach name="Name3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func="var" arg="dir" op="equ" val="norm">
            <dgm:constrLst>
              <dgm:constr type="h" refType="w" fact="1000"/>
              <dgm:constr type="l" for="ch" forName="parTx"/>
              <dgm:constr type="w" for="ch" forName="parTx" refType="w" fact="0.83"/>
              <dgm:constr type="t" for="ch" forName="parTx"/>
              <dgm:constr type="l" for="ch" forName="parSh"/>
              <dgm:constr type="w" for="ch" forName="parSh" refType="w" refFor="ch" refForName="parTx"/>
              <dgm:constr type="t" for="ch" forName="parSh"/>
              <dgm:constr type="l" for="ch" forName="desTx" refType="w" fact="0.17"/>
              <dgm:constr type="w" for="ch" forName="desTx" refType="w" refFor="ch" refForName="parTx"/>
              <dgm:constr type="t" for="ch" forName="desTx" refType="h" refFor="ch" refForName="parTx"/>
            </dgm:constrLst>
          </dgm:if>
          <dgm:else name="Name6">
            <dgm:constrLst>
              <dgm:constr type="h" refType="w" fact="1000"/>
              <dgm:constr type="l" for="ch" forName="parTx" refType="w" fact="0.17"/>
              <dgm:constr type="w" for="ch" forName="parTx" refType="w" fact="0.83"/>
              <dgm:constr type="t" for="ch" forName="parTx"/>
              <dgm:constr type="l" for="ch" forName="parSh" refType="w" fact="0.15"/>
              <dgm:constr type="w" for="ch" forName="parSh" refType="w" refFor="ch" refForName="parTx"/>
              <dgm:constr type="t" for="ch" forName="parSh"/>
              <dgm:constr type="l" for="ch" forName="desTx"/>
              <dgm:constr type="w" for="ch" forName="desTx" refType="w" refFor="ch" refForName="parTx"/>
              <dgm:constr type="t" for="ch" forName="desTx" refType="h" refFor="ch" refForName="parTx"/>
            </dgm:constrLst>
          </dgm:else>
        </dgm:choose>
        <dgm:ruleLst>
          <dgm:rule type="h" val="INF" fact="NaN" max="NaN"/>
        </dgm:ruleLst>
        <dgm:layoutNode name="parTx">
          <dgm:varLst>
            <dgm:chMax val="0"/>
            <dgm:chPref val="0"/>
            <dgm:bulletEnabled val="1"/>
          </dgm:varLst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 zOrderOff="1" hideGeom="1">
            <dgm:adjLst>
              <dgm:adj idx="1" val="0.1"/>
            </dgm:adjLst>
          </dgm:shape>
          <dgm:presOf axis="self" ptType="node"/>
          <dgm:constrLst>
            <dgm:constr type="h" refType="w" op="lte" fact="0.4"/>
            <dgm:constr type="bMarg" refType="primFontSz" fact="0.3"/>
            <dgm:constr type="h"/>
          </dgm:constrLst>
          <dgm:ruleLst>
            <dgm:rule type="h" val="INF" fact="NaN" max="NaN"/>
          </dgm:ruleLst>
        </dgm:layoutNode>
        <dgm:layoutNode name="parSh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 ptType="node"/>
          <dgm:constrLst>
            <dgm:constr type="h"/>
          </dgm:constrLst>
          <dgm:ruleLst/>
        </dgm:layoutNode>
        <dgm:layoutNode name="desTx" styleLbl="f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Rect" r:blip="">
            <dgm:adjLst>
              <dgm:adj idx="1" val="0.1"/>
            </dgm:adjLst>
          </dgm:shape>
          <dgm:presOf axis="des" ptType="node"/>
          <dgm:constrLst>
            <dgm:constr type="secFontSz" val="65"/>
            <dgm:constr type="primFontSz" refType="secFontSz"/>
            <dgm:constr type="h"/>
          </dgm:constrLst>
          <dgm:ruleLst>
            <dgm:rule type="h" val="INF" fact="NaN" max="NaN"/>
          </dgm:ruleLst>
        </dgm:layoutNode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  <dgm:param type="srcNode" val="parTx"/>
            <dgm:param type="dstNode" val="parTx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Tx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883071D-4053-4EBF-90FC-3C47506A718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A118786-55D0-4125-B809-659FC27E0E4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0E2D13-F6AA-4C7E-A08B-1717EC64A074}" type="datetimeFigureOut">
              <a:rPr lang="en-GB" smtClean="0"/>
              <a:t>08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D20AA4-6FBA-4A51-8435-C89764DBF2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9EBD283-FB3D-4997-8C53-F2AF01D9864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9A5CBF-EC47-44BE-9007-D2BB829FE621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59836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Fira Sans" panose="020B060402020202020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Fira Sans" panose="020B0604020202020204" charset="0"/>
              </a:defRPr>
            </a:lvl1pPr>
          </a:lstStyle>
          <a:p>
            <a:fld id="{41FB43FB-DCDA-AE47-AEEB-A7052222BB2E}" type="datetimeFigureOut">
              <a:rPr lang="en-US" smtClean="0"/>
              <a:pPr/>
              <a:t>3/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Fira Sans" panose="020B060402020202020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Fira Sans" panose="020B0604020202020204" charset="0"/>
              </a:defRPr>
            </a:lvl1pPr>
          </a:lstStyle>
          <a:p>
            <a:fld id="{FDEA1EC3-38D3-9F43-B1F0-97D892A72D0C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1598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Fira Sans" panose="020B060402020202020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/>
              <a:t>But </a:t>
            </a:r>
            <a:r>
              <a:rPr lang="de-CH" err="1"/>
              <a:t>let’s</a:t>
            </a:r>
            <a:r>
              <a:rPr lang="de-CH"/>
              <a:t> </a:t>
            </a:r>
            <a:r>
              <a:rPr lang="de-CH" err="1"/>
              <a:t>have</a:t>
            </a:r>
            <a:r>
              <a:rPr lang="de-CH"/>
              <a:t> a </a:t>
            </a:r>
            <a:r>
              <a:rPr lang="de-CH" err="1"/>
              <a:t>look</a:t>
            </a:r>
            <a:r>
              <a:rPr lang="de-CH"/>
              <a:t> </a:t>
            </a:r>
            <a:r>
              <a:rPr lang="de-CH" err="1"/>
              <a:t>what</a:t>
            </a:r>
            <a:r>
              <a:rPr lang="de-CH"/>
              <a:t> </a:t>
            </a:r>
            <a:r>
              <a:rPr lang="de-CH" err="1"/>
              <a:t>Dangerous</a:t>
            </a:r>
            <a:r>
              <a:rPr lang="de-CH"/>
              <a:t> </a:t>
            </a:r>
            <a:r>
              <a:rPr lang="de-CH" err="1"/>
              <a:t>Goods</a:t>
            </a:r>
            <a:r>
              <a:rPr lang="de-CH"/>
              <a:t> </a:t>
            </a:r>
            <a:r>
              <a:rPr lang="de-CH" err="1"/>
              <a:t>are</a:t>
            </a:r>
            <a:r>
              <a:rPr lang="de-CH"/>
              <a:t>:</a:t>
            </a:r>
          </a:p>
          <a:p>
            <a:endParaRPr lang="de-CH"/>
          </a:p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02262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/>
              <a:t>These </a:t>
            </a:r>
            <a:r>
              <a:rPr lang="de-CH" err="1"/>
              <a:t>substances</a:t>
            </a:r>
            <a:r>
              <a:rPr lang="de-CH"/>
              <a:t>, </a:t>
            </a:r>
            <a:r>
              <a:rPr lang="de-CH" err="1"/>
              <a:t>mixtures</a:t>
            </a:r>
            <a:r>
              <a:rPr lang="de-CH"/>
              <a:t> and </a:t>
            </a:r>
            <a:r>
              <a:rPr lang="de-CH" err="1"/>
              <a:t>articles</a:t>
            </a:r>
            <a:r>
              <a:rPr lang="de-CH"/>
              <a:t> </a:t>
            </a:r>
            <a:r>
              <a:rPr lang="de-CH" err="1"/>
              <a:t>are</a:t>
            </a:r>
            <a:r>
              <a:rPr lang="de-CH"/>
              <a:t> </a:t>
            </a:r>
            <a:r>
              <a:rPr lang="de-CH" err="1"/>
              <a:t>assigned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9 </a:t>
            </a:r>
            <a:r>
              <a:rPr lang="de-CH" err="1"/>
              <a:t>classes</a:t>
            </a:r>
            <a:r>
              <a:rPr lang="de-CH"/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6976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/>
              <a:t>And </a:t>
            </a:r>
            <a:r>
              <a:rPr lang="de-CH" err="1"/>
              <a:t>are</a:t>
            </a:r>
            <a:r>
              <a:rPr lang="de-CH"/>
              <a:t> </a:t>
            </a:r>
            <a:r>
              <a:rPr lang="de-CH" err="1"/>
              <a:t>identified</a:t>
            </a:r>
            <a:r>
              <a:rPr lang="de-CH"/>
              <a:t> </a:t>
            </a:r>
            <a:r>
              <a:rPr lang="de-CH" err="1"/>
              <a:t>by</a:t>
            </a:r>
            <a:r>
              <a:rPr lang="de-CH"/>
              <a:t> the UN-</a:t>
            </a:r>
            <a:r>
              <a:rPr lang="de-CH" err="1"/>
              <a:t>number</a:t>
            </a:r>
            <a:r>
              <a:rPr lang="de-CH"/>
              <a:t> and a </a:t>
            </a:r>
            <a:r>
              <a:rPr lang="de-CH" err="1"/>
              <a:t>corresponding</a:t>
            </a:r>
            <a:r>
              <a:rPr lang="de-CH"/>
              <a:t> Proper </a:t>
            </a:r>
            <a:r>
              <a:rPr lang="de-CH" err="1"/>
              <a:t>Shipping</a:t>
            </a:r>
            <a:r>
              <a:rPr lang="de-CH"/>
              <a:t> Name. </a:t>
            </a:r>
          </a:p>
          <a:p>
            <a:endParaRPr lang="de-CH"/>
          </a:p>
          <a:p>
            <a:r>
              <a:rPr lang="de-CH" err="1"/>
              <a:t>Important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also the so-</a:t>
            </a:r>
            <a:r>
              <a:rPr lang="de-CH" err="1"/>
              <a:t>called</a:t>
            </a:r>
            <a:r>
              <a:rPr lang="de-CH"/>
              <a:t> </a:t>
            </a:r>
            <a:r>
              <a:rPr lang="de-CH" err="1"/>
              <a:t>Packing</a:t>
            </a:r>
            <a:r>
              <a:rPr lang="de-CH"/>
              <a:t> Group </a:t>
            </a:r>
            <a:r>
              <a:rPr lang="de-CH" err="1"/>
              <a:t>because</a:t>
            </a:r>
            <a:r>
              <a:rPr lang="de-CH"/>
              <a:t> </a:t>
            </a:r>
            <a:r>
              <a:rPr lang="de-CH" err="1"/>
              <a:t>that</a:t>
            </a:r>
            <a:r>
              <a:rPr lang="de-CH"/>
              <a:t> </a:t>
            </a:r>
            <a:r>
              <a:rPr lang="de-CH" err="1"/>
              <a:t>gives</a:t>
            </a:r>
            <a:r>
              <a:rPr lang="de-CH"/>
              <a:t> a </a:t>
            </a:r>
            <a:r>
              <a:rPr lang="de-CH" err="1"/>
              <a:t>hint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the </a:t>
            </a:r>
            <a:r>
              <a:rPr lang="de-CH" err="1"/>
              <a:t>degree</a:t>
            </a:r>
            <a:r>
              <a:rPr lang="de-CH"/>
              <a:t> of </a:t>
            </a:r>
            <a:r>
              <a:rPr lang="de-CH" err="1"/>
              <a:t>danger</a:t>
            </a:r>
            <a:r>
              <a:rPr lang="de-CH"/>
              <a:t>.</a:t>
            </a:r>
          </a:p>
          <a:p>
            <a:endParaRPr lang="de-CH"/>
          </a:p>
          <a:p>
            <a:endParaRPr lang="de-CH"/>
          </a:p>
          <a:p>
            <a:r>
              <a:rPr lang="de-CH"/>
              <a:t>This </a:t>
            </a:r>
            <a:r>
              <a:rPr lang="de-CH" err="1"/>
              <a:t>information</a:t>
            </a:r>
            <a:r>
              <a:rPr lang="de-CH"/>
              <a:t> </a:t>
            </a:r>
            <a:r>
              <a:rPr lang="de-CH" err="1"/>
              <a:t>can</a:t>
            </a:r>
            <a:r>
              <a:rPr lang="de-CH"/>
              <a:t> </a:t>
            </a:r>
            <a:r>
              <a:rPr lang="de-CH" err="1"/>
              <a:t>be</a:t>
            </a:r>
            <a:r>
              <a:rPr lang="de-CH"/>
              <a:t> </a:t>
            </a:r>
            <a:r>
              <a:rPr lang="de-CH" err="1"/>
              <a:t>found</a:t>
            </a:r>
            <a:r>
              <a:rPr lang="de-CH"/>
              <a:t> (in </a:t>
            </a:r>
            <a:r>
              <a:rPr lang="de-CH" err="1"/>
              <a:t>case</a:t>
            </a:r>
            <a:r>
              <a:rPr lang="de-CH"/>
              <a:t> of </a:t>
            </a:r>
            <a:r>
              <a:rPr lang="de-CH" err="1"/>
              <a:t>chemicals</a:t>
            </a:r>
            <a:r>
              <a:rPr lang="de-CH"/>
              <a:t>) in Chapter 14 of the SD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4849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/>
              <a:t>As I </a:t>
            </a:r>
            <a:r>
              <a:rPr lang="de-CH" err="1"/>
              <a:t>said</a:t>
            </a:r>
            <a:r>
              <a:rPr lang="de-CH"/>
              <a:t>, </a:t>
            </a:r>
            <a:r>
              <a:rPr lang="de-CH" err="1"/>
              <a:t>having</a:t>
            </a:r>
            <a:r>
              <a:rPr lang="de-CH"/>
              <a:t> </a:t>
            </a:r>
            <a:r>
              <a:rPr lang="de-CH" err="1"/>
              <a:t>identified</a:t>
            </a:r>
            <a:r>
              <a:rPr lang="de-CH"/>
              <a:t> the UN </a:t>
            </a:r>
            <a:r>
              <a:rPr lang="de-CH" err="1"/>
              <a:t>number</a:t>
            </a:r>
            <a:r>
              <a:rPr lang="de-CH"/>
              <a:t> </a:t>
            </a:r>
            <a:r>
              <a:rPr lang="de-CH" err="1"/>
              <a:t>this</a:t>
            </a:r>
            <a:r>
              <a:rPr lang="de-CH"/>
              <a:t> </a:t>
            </a:r>
            <a:r>
              <a:rPr lang="de-CH" err="1"/>
              <a:t>has</a:t>
            </a:r>
            <a:r>
              <a:rPr lang="de-CH"/>
              <a:t> </a:t>
            </a:r>
            <a:r>
              <a:rPr lang="de-CH" err="1"/>
              <a:t>consequences</a:t>
            </a:r>
            <a:r>
              <a:rPr lang="de-CH"/>
              <a:t> on the </a:t>
            </a:r>
            <a:r>
              <a:rPr lang="de-CH" err="1"/>
              <a:t>packaging</a:t>
            </a:r>
            <a:r>
              <a:rPr lang="de-CH"/>
              <a:t> </a:t>
            </a:r>
            <a:r>
              <a:rPr lang="de-CH" err="1"/>
              <a:t>we</a:t>
            </a:r>
            <a:r>
              <a:rPr lang="de-CH"/>
              <a:t> </a:t>
            </a:r>
            <a:r>
              <a:rPr lang="de-CH" err="1"/>
              <a:t>are</a:t>
            </a:r>
            <a:r>
              <a:rPr lang="de-CH"/>
              <a:t> </a:t>
            </a:r>
            <a:r>
              <a:rPr lang="de-CH" err="1"/>
              <a:t>allowed</a:t>
            </a:r>
            <a:r>
              <a:rPr lang="de-CH"/>
              <a:t> </a:t>
            </a:r>
            <a:r>
              <a:rPr lang="de-CH" err="1"/>
              <a:t>to</a:t>
            </a:r>
            <a:r>
              <a:rPr lang="de-CH"/>
              <a:t> </a:t>
            </a:r>
            <a:r>
              <a:rPr lang="de-CH" err="1"/>
              <a:t>use</a:t>
            </a:r>
            <a:r>
              <a:rPr lang="de-CH"/>
              <a:t>. </a:t>
            </a:r>
          </a:p>
          <a:p>
            <a:endParaRPr lang="de-CH"/>
          </a:p>
          <a:p>
            <a:r>
              <a:rPr lang="de-CH"/>
              <a:t>These must </a:t>
            </a:r>
            <a:r>
              <a:rPr lang="de-CH" err="1"/>
              <a:t>have</a:t>
            </a:r>
            <a:r>
              <a:rPr lang="de-CH"/>
              <a:t> </a:t>
            </a:r>
            <a:r>
              <a:rPr lang="de-CH" err="1"/>
              <a:t>passed</a:t>
            </a:r>
            <a:r>
              <a:rPr lang="de-CH"/>
              <a:t> </a:t>
            </a:r>
            <a:r>
              <a:rPr lang="de-CH" err="1"/>
              <a:t>certain</a:t>
            </a:r>
            <a:r>
              <a:rPr lang="de-CH"/>
              <a:t> </a:t>
            </a:r>
            <a:r>
              <a:rPr lang="de-CH" err="1"/>
              <a:t>tests</a:t>
            </a:r>
            <a:r>
              <a:rPr lang="de-CH"/>
              <a:t> and </a:t>
            </a:r>
            <a:r>
              <a:rPr lang="de-CH" err="1"/>
              <a:t>if</a:t>
            </a:r>
            <a:r>
              <a:rPr lang="de-CH"/>
              <a:t> </a:t>
            </a:r>
            <a:r>
              <a:rPr lang="de-CH" err="1"/>
              <a:t>it’s</a:t>
            </a:r>
            <a:r>
              <a:rPr lang="de-CH"/>
              <a:t> </a:t>
            </a:r>
            <a:r>
              <a:rPr lang="de-CH" err="1"/>
              <a:t>been</a:t>
            </a:r>
            <a:r>
              <a:rPr lang="de-CH"/>
              <a:t> </a:t>
            </a:r>
            <a:r>
              <a:rPr lang="de-CH" err="1"/>
              <a:t>successful</a:t>
            </a:r>
            <a:r>
              <a:rPr lang="de-CH"/>
              <a:t>, a </a:t>
            </a:r>
            <a:r>
              <a:rPr lang="de-CH" err="1"/>
              <a:t>packaging</a:t>
            </a:r>
            <a:r>
              <a:rPr lang="de-CH"/>
              <a:t> </a:t>
            </a:r>
            <a:r>
              <a:rPr lang="de-CH" err="1"/>
              <a:t>certificate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</a:t>
            </a:r>
            <a:r>
              <a:rPr lang="de-CH" err="1"/>
              <a:t>signed</a:t>
            </a:r>
            <a:r>
              <a:rPr lang="de-CH"/>
              <a:t> </a:t>
            </a:r>
            <a:r>
              <a:rPr lang="de-CH" err="1"/>
              <a:t>by</a:t>
            </a:r>
            <a:r>
              <a:rPr lang="de-CH"/>
              <a:t> the </a:t>
            </a:r>
            <a:r>
              <a:rPr lang="de-CH" err="1"/>
              <a:t>authorities</a:t>
            </a:r>
            <a:r>
              <a:rPr lang="de-CH"/>
              <a:t> and a </a:t>
            </a:r>
            <a:r>
              <a:rPr lang="de-CH" err="1"/>
              <a:t>certain</a:t>
            </a:r>
            <a:r>
              <a:rPr lang="de-CH"/>
              <a:t> </a:t>
            </a:r>
            <a:r>
              <a:rPr lang="de-CH" err="1"/>
              <a:t>code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</a:t>
            </a:r>
            <a:r>
              <a:rPr lang="de-CH" err="1"/>
              <a:t>printed</a:t>
            </a:r>
            <a:r>
              <a:rPr lang="de-CH"/>
              <a:t> on the outside of the </a:t>
            </a:r>
            <a:r>
              <a:rPr lang="de-CH" err="1"/>
              <a:t>packaging</a:t>
            </a:r>
            <a:r>
              <a:rPr lang="de-CH"/>
              <a:t>.</a:t>
            </a:r>
          </a:p>
          <a:p>
            <a:endParaRPr lang="de-CH"/>
          </a:p>
          <a:p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7403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/>
              <a:t>For </a:t>
            </a:r>
            <a:r>
              <a:rPr lang="de-CH" err="1"/>
              <a:t>bulk</a:t>
            </a:r>
            <a:r>
              <a:rPr lang="de-CH"/>
              <a:t> </a:t>
            </a:r>
            <a:r>
              <a:rPr lang="de-CH" err="1"/>
              <a:t>transport</a:t>
            </a:r>
            <a:r>
              <a:rPr lang="de-CH"/>
              <a:t>, </a:t>
            </a:r>
            <a:r>
              <a:rPr lang="de-CH" err="1"/>
              <a:t>there</a:t>
            </a:r>
            <a:r>
              <a:rPr lang="de-CH"/>
              <a:t> </a:t>
            </a:r>
            <a:r>
              <a:rPr lang="de-CH" err="1"/>
              <a:t>are</a:t>
            </a:r>
            <a:r>
              <a:rPr lang="de-CH"/>
              <a:t> </a:t>
            </a:r>
            <a:r>
              <a:rPr lang="de-CH" err="1"/>
              <a:t>similar</a:t>
            </a:r>
            <a:r>
              <a:rPr lang="de-CH"/>
              <a:t> </a:t>
            </a:r>
            <a:r>
              <a:rPr lang="de-CH" err="1"/>
              <a:t>requriements</a:t>
            </a:r>
            <a:r>
              <a:rPr lang="de-CH"/>
              <a:t>. For </a:t>
            </a:r>
            <a:r>
              <a:rPr lang="de-CH" err="1"/>
              <a:t>each</a:t>
            </a:r>
            <a:r>
              <a:rPr lang="de-CH"/>
              <a:t> UN-</a:t>
            </a:r>
            <a:r>
              <a:rPr lang="de-CH" err="1"/>
              <a:t>number</a:t>
            </a:r>
            <a:r>
              <a:rPr lang="de-CH"/>
              <a:t> a </a:t>
            </a:r>
            <a:r>
              <a:rPr lang="de-CH" err="1"/>
              <a:t>certain</a:t>
            </a:r>
            <a:r>
              <a:rPr lang="de-CH"/>
              <a:t> Tank </a:t>
            </a:r>
            <a:r>
              <a:rPr lang="de-CH" err="1"/>
              <a:t>code</a:t>
            </a:r>
            <a:r>
              <a:rPr lang="de-CH"/>
              <a:t> and tank </a:t>
            </a:r>
            <a:r>
              <a:rPr lang="de-CH" err="1"/>
              <a:t>instruction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</a:t>
            </a:r>
            <a:r>
              <a:rPr lang="de-CH" err="1"/>
              <a:t>given</a:t>
            </a:r>
            <a:r>
              <a:rPr lang="de-CH"/>
              <a:t>. </a:t>
            </a:r>
            <a:r>
              <a:rPr lang="de-CH" err="1"/>
              <a:t>If</a:t>
            </a:r>
            <a:r>
              <a:rPr lang="de-CH"/>
              <a:t> not </a:t>
            </a:r>
            <a:r>
              <a:rPr lang="de-CH" err="1"/>
              <a:t>indicated</a:t>
            </a:r>
            <a:r>
              <a:rPr lang="de-CH"/>
              <a:t>, </a:t>
            </a:r>
            <a:r>
              <a:rPr lang="de-CH" err="1"/>
              <a:t>transport</a:t>
            </a:r>
            <a:r>
              <a:rPr lang="de-CH"/>
              <a:t> in </a:t>
            </a:r>
            <a:r>
              <a:rPr lang="de-CH" err="1"/>
              <a:t>tanks</a:t>
            </a:r>
            <a:r>
              <a:rPr lang="de-CH"/>
              <a:t> </a:t>
            </a:r>
            <a:r>
              <a:rPr lang="de-CH" err="1"/>
              <a:t>or</a:t>
            </a:r>
            <a:r>
              <a:rPr lang="de-CH"/>
              <a:t> tank </a:t>
            </a:r>
            <a:r>
              <a:rPr lang="de-CH" err="1"/>
              <a:t>container</a:t>
            </a:r>
            <a:r>
              <a:rPr lang="de-CH"/>
              <a:t> </a:t>
            </a:r>
            <a:r>
              <a:rPr lang="de-CH" err="1"/>
              <a:t>is</a:t>
            </a:r>
            <a:r>
              <a:rPr lang="de-CH"/>
              <a:t> not </a:t>
            </a:r>
            <a:r>
              <a:rPr lang="de-CH" err="1"/>
              <a:t>possible</a:t>
            </a:r>
            <a:r>
              <a:rPr lang="de-CH"/>
              <a:t>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1973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CH"/>
              <a:t>Backup - </a:t>
            </a:r>
            <a:r>
              <a:rPr lang="de-CH" err="1"/>
              <a:t>hidden</a:t>
            </a:r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89325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nd last but not least Security aspect must be taken into account.</a:t>
            </a:r>
          </a:p>
          <a:p>
            <a:endParaRPr lang="en-US"/>
          </a:p>
          <a:p>
            <a:r>
              <a:rPr lang="en-US"/>
              <a:t>Following the events of September 11th 2001 several measures regarding the security of goods transportation have been developed and implemented</a:t>
            </a:r>
          </a:p>
          <a:p>
            <a:endParaRPr lang="en-US"/>
          </a:p>
          <a:p>
            <a:r>
              <a:rPr lang="en-US"/>
              <a:t>It was recognized that some of these goods can be misused in a terrorist event. So measures must be taken to minimize the risk. </a:t>
            </a:r>
            <a:br>
              <a:rPr lang="en-US"/>
            </a:br>
            <a:br>
              <a:rPr lang="en-US"/>
            </a:br>
            <a:r>
              <a:rPr lang="en-US"/>
              <a:t>According to the regulations a Security Plan must be in place at the supplier, carrier etc. (incl customer). </a:t>
            </a:r>
          </a:p>
          <a:p>
            <a:endParaRPr lang="en-US"/>
          </a:p>
          <a:p>
            <a:endParaRPr lang="de-CH" sz="240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7069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1FE3D0-05F6-46C1-A5EA-B2DE3515B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776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1FE3D0-05F6-46C1-A5EA-B2DE3515B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48407E-796A-40CA-AB97-FD69035658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7C9C340-AD27-5841-BF8F-0CE7DDB2F1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4800" y="-1990"/>
            <a:ext cx="12196800" cy="6859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758033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0 w 12195175"/>
              <a:gd name="connsiteY3" fmla="*/ 6858000 h 6858000"/>
              <a:gd name="connsiteX4" fmla="*/ 0 w 12195175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10023475 w 12195175"/>
              <a:gd name="connsiteY4" fmla="*/ 53213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9925 w 12195175"/>
              <a:gd name="connsiteY6" fmla="*/ 52451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0 w 12195175"/>
              <a:gd name="connsiteY10" fmla="*/ 6858000 h 6858000"/>
              <a:gd name="connsiteX11" fmla="*/ 0 w 12195175"/>
              <a:gd name="connsiteY11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408277 w 12195175"/>
              <a:gd name="connsiteY6" fmla="*/ 4706327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166225 w 12195175"/>
              <a:gd name="connsiteY6" fmla="*/ 5076825 h 6867485"/>
              <a:gd name="connsiteX7" fmla="*/ 8639175 w 12195175"/>
              <a:gd name="connsiteY7" fmla="*/ 5302250 h 6867485"/>
              <a:gd name="connsiteX8" fmla="*/ 8791575 w 12195175"/>
              <a:gd name="connsiteY8" fmla="*/ 5426075 h 6867485"/>
              <a:gd name="connsiteX9" fmla="*/ 8709025 w 12195175"/>
              <a:gd name="connsiteY9" fmla="*/ 5559425 h 6867485"/>
              <a:gd name="connsiteX10" fmla="*/ 6647422 w 12195175"/>
              <a:gd name="connsiteY10" fmla="*/ 6120030 h 6867485"/>
              <a:gd name="connsiteX11" fmla="*/ 4105315 w 12195175"/>
              <a:gd name="connsiteY11" fmla="*/ 6867485 h 6867485"/>
              <a:gd name="connsiteX12" fmla="*/ 0 w 12195175"/>
              <a:gd name="connsiteY12" fmla="*/ 6858000 h 6867485"/>
              <a:gd name="connsiteX13" fmla="*/ 0 w 12195175"/>
              <a:gd name="connsiteY13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166225 w 12195175"/>
              <a:gd name="connsiteY5" fmla="*/ 5076825 h 6867485"/>
              <a:gd name="connsiteX6" fmla="*/ 8639175 w 12195175"/>
              <a:gd name="connsiteY6" fmla="*/ 5302250 h 6867485"/>
              <a:gd name="connsiteX7" fmla="*/ 8791575 w 12195175"/>
              <a:gd name="connsiteY7" fmla="*/ 5426075 h 6867485"/>
              <a:gd name="connsiteX8" fmla="*/ 8709025 w 12195175"/>
              <a:gd name="connsiteY8" fmla="*/ 5559425 h 6867485"/>
              <a:gd name="connsiteX9" fmla="*/ 6647422 w 12195175"/>
              <a:gd name="connsiteY9" fmla="*/ 612003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639175 w 12195175"/>
              <a:gd name="connsiteY5" fmla="*/ 5302250 h 6867485"/>
              <a:gd name="connsiteX6" fmla="*/ 8791575 w 12195175"/>
              <a:gd name="connsiteY6" fmla="*/ 5426075 h 6867485"/>
              <a:gd name="connsiteX7" fmla="*/ 8709025 w 12195175"/>
              <a:gd name="connsiteY7" fmla="*/ 5559425 h 6867485"/>
              <a:gd name="connsiteX8" fmla="*/ 6647422 w 12195175"/>
              <a:gd name="connsiteY8" fmla="*/ 612003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91575 w 12195175"/>
              <a:gd name="connsiteY5" fmla="*/ 5426075 h 6867485"/>
              <a:gd name="connsiteX6" fmla="*/ 8709025 w 12195175"/>
              <a:gd name="connsiteY6" fmla="*/ 5559425 h 6867485"/>
              <a:gd name="connsiteX7" fmla="*/ 6647422 w 12195175"/>
              <a:gd name="connsiteY7" fmla="*/ 612003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09025 w 12195175"/>
              <a:gd name="connsiteY5" fmla="*/ 5559425 h 6867485"/>
              <a:gd name="connsiteX6" fmla="*/ 6647422 w 12195175"/>
              <a:gd name="connsiteY6" fmla="*/ 612003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48929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35144 w 12195175"/>
              <a:gd name="connsiteY4" fmla="*/ 514898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5234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8919012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52344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880917 w 12195175"/>
              <a:gd name="connsiteY7" fmla="*/ 54229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503142 w 12195175"/>
              <a:gd name="connsiteY7" fmla="*/ 50673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131716 w 12195175"/>
              <a:gd name="connsiteY8" fmla="*/ 5457825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322191 w 12195175"/>
              <a:gd name="connsiteY9" fmla="*/ 5534025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07811 h 6858000"/>
              <a:gd name="connsiteX3" fmla="*/ 10768730 w 12195175"/>
              <a:gd name="connsiteY3" fmla="*/ 4999470 h 6858000"/>
              <a:gd name="connsiteX4" fmla="*/ 9312059 w 12195175"/>
              <a:gd name="connsiteY4" fmla="*/ 5344969 h 6858000"/>
              <a:gd name="connsiteX5" fmla="*/ 9254575 w 12195175"/>
              <a:gd name="connsiteY5" fmla="*/ 5234955 h 6858000"/>
              <a:gd name="connsiteX6" fmla="*/ 9090439 w 12195175"/>
              <a:gd name="connsiteY6" fmla="*/ 5356225 h 6858000"/>
              <a:gd name="connsiteX7" fmla="*/ 8369810 w 12195175"/>
              <a:gd name="connsiteY7" fmla="*/ 5378450 h 6858000"/>
              <a:gd name="connsiteX8" fmla="*/ 8493618 w 12195175"/>
              <a:gd name="connsiteY8" fmla="*/ 5473700 h 6858000"/>
              <a:gd name="connsiteX9" fmla="*/ 8436476 w 12195175"/>
              <a:gd name="connsiteY9" fmla="*/ 5556250 h 6858000"/>
              <a:gd name="connsiteX10" fmla="*/ 3191037 w 12195175"/>
              <a:gd name="connsiteY10" fmla="*/ 6642632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5175" h="6859990">
                <a:moveTo>
                  <a:pt x="0" y="0"/>
                </a:moveTo>
                <a:lnTo>
                  <a:pt x="12192000" y="0"/>
                </a:lnTo>
                <a:cubicBezTo>
                  <a:pt x="12193058" y="1588128"/>
                  <a:pt x="12194117" y="3119683"/>
                  <a:pt x="12195175" y="4707811"/>
                </a:cubicBezTo>
                <a:cubicBezTo>
                  <a:pt x="11709400" y="4788675"/>
                  <a:pt x="11441520" y="4853951"/>
                  <a:pt x="10768730" y="4999470"/>
                </a:cubicBezTo>
                <a:lnTo>
                  <a:pt x="9312059" y="5344969"/>
                </a:lnTo>
                <a:cubicBezTo>
                  <a:pt x="9297337" y="5292270"/>
                  <a:pt x="9292097" y="5275532"/>
                  <a:pt x="9254575" y="5234955"/>
                </a:cubicBezTo>
                <a:cubicBezTo>
                  <a:pt x="9182717" y="5248473"/>
                  <a:pt x="9110561" y="5300037"/>
                  <a:pt x="9090439" y="5356225"/>
                </a:cubicBezTo>
                <a:cubicBezTo>
                  <a:pt x="9018639" y="5285949"/>
                  <a:pt x="8708605" y="5037673"/>
                  <a:pt x="8369810" y="5378450"/>
                </a:cubicBezTo>
                <a:cubicBezTo>
                  <a:pt x="8429069" y="5436658"/>
                  <a:pt x="8426595" y="5447778"/>
                  <a:pt x="8493618" y="5473700"/>
                </a:cubicBezTo>
                <a:cubicBezTo>
                  <a:pt x="8485682" y="5499629"/>
                  <a:pt x="8472628" y="5489053"/>
                  <a:pt x="8436476" y="5556250"/>
                </a:cubicBezTo>
                <a:cubicBezTo>
                  <a:pt x="7470174" y="5798073"/>
                  <a:pt x="5874545" y="6234593"/>
                  <a:pt x="3910469" y="685999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tIns="144000" rIns="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2542FA3C-B111-441A-A03E-8404B1A845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 presenter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5199FE99-79B5-4DCF-87BD-5E9E69F5BF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2376548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BAB836-C9B1-4F02-BEDD-1902625C3D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177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BAB836-C9B1-4F02-BEDD-1902625C3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80C3687-36C5-4171-B057-30559693390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3E210B19-5567-EC4C-82D7-46BB70171659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auto">
          <a:xfrm>
            <a:off x="6097411" y="0"/>
            <a:ext cx="6094589" cy="6858000"/>
          </a:xfrm>
          <a:custGeom>
            <a:avLst/>
            <a:gdLst>
              <a:gd name="connsiteX0" fmla="*/ 0 w 4575175"/>
              <a:gd name="connsiteY0" fmla="*/ 0 h 5148263"/>
              <a:gd name="connsiteX1" fmla="*/ 4575175 w 4575175"/>
              <a:gd name="connsiteY1" fmla="*/ 0 h 5148263"/>
              <a:gd name="connsiteX2" fmla="*/ 4575175 w 4575175"/>
              <a:gd name="connsiteY2" fmla="*/ 4460152 h 5148263"/>
              <a:gd name="connsiteX3" fmla="*/ 4536394 w 4575175"/>
              <a:gd name="connsiteY3" fmla="*/ 4467348 h 5148263"/>
              <a:gd name="connsiteX4" fmla="*/ 4483511 w 4575175"/>
              <a:gd name="connsiteY4" fmla="*/ 4476343 h 5148263"/>
              <a:gd name="connsiteX5" fmla="*/ 4405948 w 4575175"/>
              <a:gd name="connsiteY5" fmla="*/ 4490735 h 5148263"/>
              <a:gd name="connsiteX6" fmla="*/ 4303707 w 4575175"/>
              <a:gd name="connsiteY6" fmla="*/ 4512323 h 5148263"/>
              <a:gd name="connsiteX7" fmla="*/ 4175024 w 4575175"/>
              <a:gd name="connsiteY7" fmla="*/ 4541106 h 5148263"/>
              <a:gd name="connsiteX8" fmla="*/ 4016374 w 4575175"/>
              <a:gd name="connsiteY8" fmla="*/ 4578885 h 5148263"/>
              <a:gd name="connsiteX9" fmla="*/ 3825994 w 4575175"/>
              <a:gd name="connsiteY9" fmla="*/ 4625659 h 5148263"/>
              <a:gd name="connsiteX10" fmla="*/ 3820705 w 4575175"/>
              <a:gd name="connsiteY10" fmla="*/ 4611267 h 5148263"/>
              <a:gd name="connsiteX11" fmla="*/ 3813654 w 4575175"/>
              <a:gd name="connsiteY11" fmla="*/ 4596875 h 5148263"/>
              <a:gd name="connsiteX12" fmla="*/ 3806603 w 4575175"/>
              <a:gd name="connsiteY12" fmla="*/ 4586081 h 5148263"/>
              <a:gd name="connsiteX13" fmla="*/ 3797789 w 4575175"/>
              <a:gd name="connsiteY13" fmla="*/ 4577086 h 5148263"/>
              <a:gd name="connsiteX14" fmla="*/ 3774873 w 4575175"/>
              <a:gd name="connsiteY14" fmla="*/ 4584282 h 5148263"/>
              <a:gd name="connsiteX15" fmla="*/ 3764297 w 4575175"/>
              <a:gd name="connsiteY15" fmla="*/ 4589679 h 5148263"/>
              <a:gd name="connsiteX16" fmla="*/ 3755483 w 4575175"/>
              <a:gd name="connsiteY16" fmla="*/ 4595076 h 5148263"/>
              <a:gd name="connsiteX17" fmla="*/ 3748431 w 4575175"/>
              <a:gd name="connsiteY17" fmla="*/ 4602272 h 5148263"/>
              <a:gd name="connsiteX18" fmla="*/ 3741380 w 4575175"/>
              <a:gd name="connsiteY18" fmla="*/ 4609468 h 5148263"/>
              <a:gd name="connsiteX19" fmla="*/ 3736092 w 4575175"/>
              <a:gd name="connsiteY19" fmla="*/ 4618463 h 5148263"/>
              <a:gd name="connsiteX20" fmla="*/ 3732566 w 4575175"/>
              <a:gd name="connsiteY20" fmla="*/ 4627458 h 5148263"/>
              <a:gd name="connsiteX21" fmla="*/ 3714939 w 4575175"/>
              <a:gd name="connsiteY21" fmla="*/ 4609468 h 5148263"/>
              <a:gd name="connsiteX22" fmla="*/ 3695548 w 4575175"/>
              <a:gd name="connsiteY22" fmla="*/ 4593277 h 5148263"/>
              <a:gd name="connsiteX23" fmla="*/ 3672632 w 4575175"/>
              <a:gd name="connsiteY23" fmla="*/ 4580684 h 5148263"/>
              <a:gd name="connsiteX24" fmla="*/ 3660293 w 4575175"/>
              <a:gd name="connsiteY24" fmla="*/ 4575287 h 5148263"/>
              <a:gd name="connsiteX25" fmla="*/ 3647953 w 4575175"/>
              <a:gd name="connsiteY25" fmla="*/ 4571689 h 5148263"/>
              <a:gd name="connsiteX26" fmla="*/ 3630325 w 4575175"/>
              <a:gd name="connsiteY26" fmla="*/ 4568091 h 5148263"/>
              <a:gd name="connsiteX27" fmla="*/ 3614460 w 4575175"/>
              <a:gd name="connsiteY27" fmla="*/ 4564493 h 5148263"/>
              <a:gd name="connsiteX28" fmla="*/ 3598595 w 4575175"/>
              <a:gd name="connsiteY28" fmla="*/ 4562694 h 5148263"/>
              <a:gd name="connsiteX29" fmla="*/ 3582730 w 4575175"/>
              <a:gd name="connsiteY29" fmla="*/ 4562694 h 5148263"/>
              <a:gd name="connsiteX30" fmla="*/ 3566865 w 4575175"/>
              <a:gd name="connsiteY30" fmla="*/ 4564493 h 5148263"/>
              <a:gd name="connsiteX31" fmla="*/ 3552763 w 4575175"/>
              <a:gd name="connsiteY31" fmla="*/ 4566292 h 5148263"/>
              <a:gd name="connsiteX32" fmla="*/ 3538661 w 4575175"/>
              <a:gd name="connsiteY32" fmla="*/ 4569890 h 5148263"/>
              <a:gd name="connsiteX33" fmla="*/ 3524558 w 4575175"/>
              <a:gd name="connsiteY33" fmla="*/ 4573488 h 5148263"/>
              <a:gd name="connsiteX34" fmla="*/ 3510456 w 4575175"/>
              <a:gd name="connsiteY34" fmla="*/ 4578885 h 5148263"/>
              <a:gd name="connsiteX35" fmla="*/ 3498117 w 4575175"/>
              <a:gd name="connsiteY35" fmla="*/ 4584282 h 5148263"/>
              <a:gd name="connsiteX36" fmla="*/ 3475201 w 4575175"/>
              <a:gd name="connsiteY36" fmla="*/ 4598674 h 5148263"/>
              <a:gd name="connsiteX37" fmla="*/ 3455810 w 4575175"/>
              <a:gd name="connsiteY37" fmla="*/ 4616664 h 5148263"/>
              <a:gd name="connsiteX38" fmla="*/ 3438182 w 4575175"/>
              <a:gd name="connsiteY38" fmla="*/ 4636453 h 5148263"/>
              <a:gd name="connsiteX39" fmla="*/ 3441708 w 4575175"/>
              <a:gd name="connsiteY39" fmla="*/ 4641850 h 5148263"/>
              <a:gd name="connsiteX40" fmla="*/ 3450522 w 4575175"/>
              <a:gd name="connsiteY40" fmla="*/ 4650844 h 5148263"/>
              <a:gd name="connsiteX41" fmla="*/ 3457573 w 4575175"/>
              <a:gd name="connsiteY41" fmla="*/ 4658040 h 5148263"/>
              <a:gd name="connsiteX42" fmla="*/ 3466387 w 4575175"/>
              <a:gd name="connsiteY42" fmla="*/ 4663437 h 5148263"/>
              <a:gd name="connsiteX43" fmla="*/ 3476963 w 4575175"/>
              <a:gd name="connsiteY43" fmla="*/ 4670633 h 5148263"/>
              <a:gd name="connsiteX44" fmla="*/ 3489303 w 4575175"/>
              <a:gd name="connsiteY44" fmla="*/ 4676030 h 5148263"/>
              <a:gd name="connsiteX45" fmla="*/ 3480489 w 4575175"/>
              <a:gd name="connsiteY45" fmla="*/ 4685025 h 5148263"/>
              <a:gd name="connsiteX46" fmla="*/ 3473438 w 4575175"/>
              <a:gd name="connsiteY46" fmla="*/ 4697618 h 5148263"/>
              <a:gd name="connsiteX47" fmla="*/ 3466387 w 4575175"/>
              <a:gd name="connsiteY47" fmla="*/ 4708412 h 5148263"/>
              <a:gd name="connsiteX48" fmla="*/ 3461098 w 4575175"/>
              <a:gd name="connsiteY48" fmla="*/ 4721005 h 5148263"/>
              <a:gd name="connsiteX49" fmla="*/ 3157900 w 4575175"/>
              <a:gd name="connsiteY49" fmla="*/ 4804657 h 5148263"/>
              <a:gd name="connsiteX50" fmla="*/ 2812395 w 4575175"/>
              <a:gd name="connsiteY50" fmla="*/ 4901803 h 5148263"/>
              <a:gd name="connsiteX51" fmla="*/ 2421058 w 4575175"/>
              <a:gd name="connsiteY51" fmla="*/ 5016937 h 5148263"/>
              <a:gd name="connsiteX52" fmla="*/ 1982126 w 4575175"/>
              <a:gd name="connsiteY52" fmla="*/ 5148263 h 5148263"/>
              <a:gd name="connsiteX53" fmla="*/ 0 w 4575175"/>
              <a:gd name="connsiteY53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3">
                <a:moveTo>
                  <a:pt x="0" y="0"/>
                </a:moveTo>
                <a:lnTo>
                  <a:pt x="4575175" y="0"/>
                </a:lnTo>
                <a:lnTo>
                  <a:pt x="4575175" y="4460152"/>
                </a:lnTo>
                <a:lnTo>
                  <a:pt x="4536394" y="4467348"/>
                </a:lnTo>
                <a:lnTo>
                  <a:pt x="4483511" y="4476343"/>
                </a:lnTo>
                <a:lnTo>
                  <a:pt x="4405948" y="4490735"/>
                </a:lnTo>
                <a:lnTo>
                  <a:pt x="4303707" y="4512323"/>
                </a:lnTo>
                <a:lnTo>
                  <a:pt x="4175024" y="4541106"/>
                </a:lnTo>
                <a:lnTo>
                  <a:pt x="4016374" y="4578885"/>
                </a:lnTo>
                <a:lnTo>
                  <a:pt x="3825994" y="4625659"/>
                </a:lnTo>
                <a:lnTo>
                  <a:pt x="3820705" y="4611267"/>
                </a:lnTo>
                <a:lnTo>
                  <a:pt x="3813654" y="4596875"/>
                </a:lnTo>
                <a:lnTo>
                  <a:pt x="3806603" y="4586081"/>
                </a:lnTo>
                <a:lnTo>
                  <a:pt x="3797789" y="4577086"/>
                </a:lnTo>
                <a:lnTo>
                  <a:pt x="3774873" y="4584282"/>
                </a:lnTo>
                <a:lnTo>
                  <a:pt x="3764297" y="4589679"/>
                </a:lnTo>
                <a:lnTo>
                  <a:pt x="3755483" y="4595076"/>
                </a:lnTo>
                <a:lnTo>
                  <a:pt x="3748431" y="4602272"/>
                </a:lnTo>
                <a:lnTo>
                  <a:pt x="3741380" y="4609468"/>
                </a:lnTo>
                <a:lnTo>
                  <a:pt x="3736092" y="4618463"/>
                </a:lnTo>
                <a:lnTo>
                  <a:pt x="3732566" y="4627458"/>
                </a:lnTo>
                <a:lnTo>
                  <a:pt x="3714939" y="4609468"/>
                </a:lnTo>
                <a:lnTo>
                  <a:pt x="3695548" y="4593277"/>
                </a:lnTo>
                <a:lnTo>
                  <a:pt x="3672632" y="4580684"/>
                </a:lnTo>
                <a:lnTo>
                  <a:pt x="3660293" y="4575287"/>
                </a:lnTo>
                <a:lnTo>
                  <a:pt x="3647953" y="4571689"/>
                </a:lnTo>
                <a:lnTo>
                  <a:pt x="3630325" y="4568091"/>
                </a:lnTo>
                <a:lnTo>
                  <a:pt x="3614460" y="4564493"/>
                </a:lnTo>
                <a:lnTo>
                  <a:pt x="3598595" y="4562694"/>
                </a:lnTo>
                <a:lnTo>
                  <a:pt x="3582730" y="4562694"/>
                </a:lnTo>
                <a:lnTo>
                  <a:pt x="3566865" y="4564493"/>
                </a:lnTo>
                <a:lnTo>
                  <a:pt x="3552763" y="4566292"/>
                </a:lnTo>
                <a:lnTo>
                  <a:pt x="3538661" y="4569890"/>
                </a:lnTo>
                <a:lnTo>
                  <a:pt x="3524558" y="4573488"/>
                </a:lnTo>
                <a:lnTo>
                  <a:pt x="3510456" y="4578885"/>
                </a:lnTo>
                <a:lnTo>
                  <a:pt x="3498117" y="4584282"/>
                </a:lnTo>
                <a:lnTo>
                  <a:pt x="3475201" y="4598674"/>
                </a:lnTo>
                <a:lnTo>
                  <a:pt x="3455810" y="4616664"/>
                </a:lnTo>
                <a:lnTo>
                  <a:pt x="3438182" y="4636453"/>
                </a:lnTo>
                <a:lnTo>
                  <a:pt x="3441708" y="4641850"/>
                </a:lnTo>
                <a:lnTo>
                  <a:pt x="3450522" y="4650844"/>
                </a:lnTo>
                <a:lnTo>
                  <a:pt x="3457573" y="4658040"/>
                </a:lnTo>
                <a:lnTo>
                  <a:pt x="3466387" y="4663437"/>
                </a:lnTo>
                <a:lnTo>
                  <a:pt x="3476963" y="4670633"/>
                </a:lnTo>
                <a:lnTo>
                  <a:pt x="3489303" y="4676030"/>
                </a:lnTo>
                <a:lnTo>
                  <a:pt x="3480489" y="4685025"/>
                </a:lnTo>
                <a:lnTo>
                  <a:pt x="3473438" y="4697618"/>
                </a:lnTo>
                <a:lnTo>
                  <a:pt x="3466387" y="4708412"/>
                </a:lnTo>
                <a:lnTo>
                  <a:pt x="3461098" y="4721005"/>
                </a:lnTo>
                <a:lnTo>
                  <a:pt x="3157900" y="4804657"/>
                </a:lnTo>
                <a:lnTo>
                  <a:pt x="2812395" y="4901803"/>
                </a:lnTo>
                <a:lnTo>
                  <a:pt x="2421058" y="5016937"/>
                </a:lnTo>
                <a:lnTo>
                  <a:pt x="1982126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355D142-E307-46D2-ABBE-A69BC17C24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158634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0150C5-668E-4AF4-8FA1-109F47087E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5158947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er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E460FD4-C709-4C4E-8F84-D8A6C0957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5158947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2B0F4B5-E5C2-4382-AED6-B70253040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7101D0A-2711-43A1-B0D0-D28DE6599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338495"/>
            <a:ext cx="4560148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7176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2887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0069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0873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03AC79-C5BC-47C4-BE09-93769D099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D8A6B18-6BCC-43D0-9936-BD3BE44D28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9195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2611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4A1EC-5405-41F8-8513-97687168C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FB00B4-33CE-494A-BB67-30294EE0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1AC2AB-79C7-44D8-A2D9-1231C29DC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54023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4692C1B-5892-44B6-A633-38CA66E6F79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920ECC3-E579-40EC-83D9-A249560D80E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9923" y="3190484"/>
            <a:ext cx="5612156" cy="477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5117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1800225"/>
            <a:ext cx="5391177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8A6B7A4-D943-4831-A643-DDE141023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9859E-49E6-4991-A101-64768140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F9106C1-A74E-4316-9285-24C2D5F0D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D8AFE70-5132-4474-A761-AC2C2E7862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5323779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C21C4-5401-4164-91BA-DC24D7BB1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EE1A1E3-31FD-4EA7-BCB2-F721C7ECF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465020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674312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674312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53C0BAD-6501-432C-BDEE-DDD9D0A4F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4C2CD50-5B04-4D3D-BA05-74D0E97B10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07349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C21C4-5401-4164-91BA-DC24D7BB1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EE1A1E3-31FD-4EA7-BCB2-F721C7ECF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3658645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Title slide without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3994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F9F516-A356-494E-B06F-D96C6017EB1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999" y="540000"/>
            <a:ext cx="8473371" cy="1218795"/>
          </a:xfr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Title slide</a:t>
            </a:r>
            <a:br>
              <a:rPr lang="en-US"/>
            </a:br>
            <a:r>
              <a:rPr lang="en-US"/>
              <a:t>without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F87B3A-229C-F140-8380-D91564A36F0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40000" y="6048369"/>
            <a:ext cx="2949512" cy="13904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DE0E416-3425-4A6B-9CD6-A378559ED4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 presen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41DE6B-A190-4DCF-9C25-D7BC88F3FE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41031849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1338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/>
              <a:t>Click icon to add imag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52539A8-3270-4B01-8144-98B9A7185D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46C7AD5-0DD3-406F-ACB9-ACABB0D58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slide</a:t>
            </a:r>
            <a:br>
              <a:rPr lang="en-US"/>
            </a:br>
            <a:r>
              <a:rPr lang="en-US"/>
              <a:t>with an imag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12DA6DC-0102-4FB2-A547-D52FC941F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9A730C8-66A5-4822-B3D3-B4581797F3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4414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8824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3B8A5-F0B9-4B92-9033-C0E5FF13399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AE11780-2DEF-46A1-931C-FE31AE9DB4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Divider slide</a:t>
            </a:r>
            <a:br>
              <a:rPr lang="en-US"/>
            </a:br>
            <a:r>
              <a:rPr lang="en-US"/>
              <a:t>without an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85137F-B8FB-48C3-B162-ABBE7B987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EA4E02A-F812-44E1-930E-E387B9F33F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723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0132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89333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7559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C21C4-5401-4164-91BA-DC24D7BB1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EE1A1E3-31FD-4EA7-BCB2-F721C7ECF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65020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0740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1800225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8A6B7A4-D943-4831-A643-DDE141023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9859E-49E6-4991-A101-64768140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F9106C1-A74E-4316-9285-24C2D5F0D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D8AFE70-5132-4474-A761-AC2C2E7862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23779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2 columns w/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8930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2232000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2232000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4F5A02-45AE-457C-93B5-134D4CA14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er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0626E5D-46A4-4917-94D9-76F8EC00A8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201B17D-2F65-4670-BFA9-9258870A74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251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 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01EB234-5D8E-472D-AFF8-9F39501AC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3269602-6D9D-4AB3-B9E6-58FC9FE588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8567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12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5" imgH="355" progId="TCLayout.ActiveDocument.1">
                  <p:embed/>
                </p:oleObj>
              </mc:Choice>
              <mc:Fallback>
                <p:oleObj name="think-cell Slide" r:id="rId4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674312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674312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53C0BAD-6501-432C-BDEE-DDD9D0A4F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4C2CD50-5B04-4D3D-BA05-74D0E97B10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734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7.xml"/><Relationship Id="rId7" Type="http://schemas.openxmlformats.org/officeDocument/2006/relationships/oleObject" Target="../embeddings/oleObject16.bin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heme" Target="../theme/theme2.xml"/><Relationship Id="rId9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2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tags" Target="../tags/tag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916091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45" imgH="355" progId="TCLayout.ActiveDocument.1">
                  <p:embed/>
                </p:oleObj>
              </mc:Choice>
              <mc:Fallback>
                <p:oleObj name="think-cell Slide" r:id="rId18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Click to 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724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4038" r:id="rId2"/>
    <p:sldLayoutId id="2147483962" r:id="rId3"/>
    <p:sldLayoutId id="2147483963" r:id="rId4"/>
    <p:sldLayoutId id="2147483964" r:id="rId5"/>
    <p:sldLayoutId id="2147483965" r:id="rId6"/>
    <p:sldLayoutId id="2147483966" r:id="rId7"/>
    <p:sldLayoutId id="2147483967" r:id="rId8"/>
    <p:sldLayoutId id="2147483968" r:id="rId9"/>
    <p:sldLayoutId id="2147483969" r:id="rId10"/>
    <p:sldLayoutId id="2147483970" r:id="rId11"/>
    <p:sldLayoutId id="2147483971" r:id="rId12"/>
    <p:sldLayoutId id="2147483972" r:id="rId13"/>
    <p:sldLayoutId id="2147484039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5" imgH="355" progId="TCLayout.ActiveDocument.1">
                  <p:embed/>
                </p:oleObj>
              </mc:Choice>
              <mc:Fallback>
                <p:oleObj name="think-cell Slide" r:id="rId7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</a:p>
          <a:p>
            <a:pPr lvl="5"/>
            <a:r>
              <a:rPr lang="en-US" altLang="nl-NL" noProof="0"/>
              <a:t>Sixth level</a:t>
            </a:r>
          </a:p>
          <a:p>
            <a:pPr lvl="6"/>
            <a:r>
              <a:rPr lang="en-US" altLang="nl-NL" noProof="0"/>
              <a:t>Seventh level</a:t>
            </a:r>
          </a:p>
          <a:p>
            <a:pPr lvl="7"/>
            <a:r>
              <a:rPr lang="en-US" altLang="nl-NL" noProof="0"/>
              <a:t>Eighth level</a:t>
            </a:r>
          </a:p>
          <a:p>
            <a:pPr lvl="8"/>
            <a:r>
              <a:rPr lang="en-US" altLang="nl-NL" noProof="0"/>
              <a:t>Ninth level</a:t>
            </a:r>
          </a:p>
          <a:p>
            <a:pPr lvl="7"/>
            <a:endParaRPr lang="en-US" altLang="nl-NL" noProof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1724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2" r:id="rId2"/>
    <p:sldLayoutId id="2147484041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Click to 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noProof="0" smtClean="0"/>
              <a:pPr/>
              <a:t>‹nr.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22805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2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image" Target="../media/image25.png"/><Relationship Id="rId18" Type="http://schemas.openxmlformats.org/officeDocument/2006/relationships/image" Target="../media/image30.png"/><Relationship Id="rId26" Type="http://schemas.openxmlformats.org/officeDocument/2006/relationships/image" Target="../media/image38.png"/><Relationship Id="rId3" Type="http://schemas.openxmlformats.org/officeDocument/2006/relationships/oleObject" Target="../embeddings/oleObject29.bin"/><Relationship Id="rId21" Type="http://schemas.openxmlformats.org/officeDocument/2006/relationships/image" Target="../media/image33.png"/><Relationship Id="rId7" Type="http://schemas.openxmlformats.org/officeDocument/2006/relationships/diagramQuickStyle" Target="../diagrams/quickStyle1.xml"/><Relationship Id="rId12" Type="http://schemas.openxmlformats.org/officeDocument/2006/relationships/image" Target="../media/image24.png"/><Relationship Id="rId17" Type="http://schemas.openxmlformats.org/officeDocument/2006/relationships/image" Target="../media/image29.png"/><Relationship Id="rId25" Type="http://schemas.openxmlformats.org/officeDocument/2006/relationships/image" Target="../media/image37.png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28.png"/><Relationship Id="rId20" Type="http://schemas.openxmlformats.org/officeDocument/2006/relationships/image" Target="../media/image32.png"/><Relationship Id="rId29" Type="http://schemas.openxmlformats.org/officeDocument/2006/relationships/image" Target="../media/image41.png"/><Relationship Id="rId1" Type="http://schemas.openxmlformats.org/officeDocument/2006/relationships/tags" Target="../tags/tag57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23.jpeg"/><Relationship Id="rId24" Type="http://schemas.openxmlformats.org/officeDocument/2006/relationships/image" Target="../media/image36.png"/><Relationship Id="rId5" Type="http://schemas.openxmlformats.org/officeDocument/2006/relationships/diagramData" Target="../diagrams/data1.xml"/><Relationship Id="rId15" Type="http://schemas.openxmlformats.org/officeDocument/2006/relationships/image" Target="../media/image27.png"/><Relationship Id="rId23" Type="http://schemas.openxmlformats.org/officeDocument/2006/relationships/image" Target="../media/image35.png"/><Relationship Id="rId28" Type="http://schemas.openxmlformats.org/officeDocument/2006/relationships/image" Target="../media/image40.png"/><Relationship Id="rId10" Type="http://schemas.openxmlformats.org/officeDocument/2006/relationships/image" Target="../media/image22.png"/><Relationship Id="rId19" Type="http://schemas.openxmlformats.org/officeDocument/2006/relationships/image" Target="../media/image31.png"/><Relationship Id="rId4" Type="http://schemas.openxmlformats.org/officeDocument/2006/relationships/image" Target="../media/image7.emf"/><Relationship Id="rId9" Type="http://schemas.microsoft.com/office/2007/relationships/diagramDrawing" Target="../diagrams/drawing1.xml"/><Relationship Id="rId14" Type="http://schemas.openxmlformats.org/officeDocument/2006/relationships/image" Target="../media/image26.png"/><Relationship Id="rId22" Type="http://schemas.openxmlformats.org/officeDocument/2006/relationships/image" Target="../media/image34.png"/><Relationship Id="rId27" Type="http://schemas.openxmlformats.org/officeDocument/2006/relationships/image" Target="../media/image39.png"/><Relationship Id="rId30" Type="http://schemas.openxmlformats.org/officeDocument/2006/relationships/image" Target="../media/image4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8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0.jpeg"/><Relationship Id="rId7" Type="http://schemas.openxmlformats.org/officeDocument/2006/relationships/image" Target="../media/image64.emf"/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jpeg"/><Relationship Id="rId9" Type="http://schemas.openxmlformats.org/officeDocument/2006/relationships/image" Target="../media/image66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mo.org/en/OurWork/Safety/Pages/CTU-Code.aspx" TargetMode="External"/><Relationship Id="rId3" Type="http://schemas.openxmlformats.org/officeDocument/2006/relationships/oleObject" Target="../embeddings/oleObject30.bin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8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10" Type="http://schemas.openxmlformats.org/officeDocument/2006/relationships/hyperlink" Target="https://ec.europa.eu/transport/road_safety/eu-road-safety-policy/priorities/safe-vehicles/cargo-securing-and-abnormal-loads_en" TargetMode="External"/><Relationship Id="rId4" Type="http://schemas.openxmlformats.org/officeDocument/2006/relationships/image" Target="../media/image7.emf"/><Relationship Id="rId9" Type="http://schemas.openxmlformats.org/officeDocument/2006/relationships/hyperlink" Target="https://www.fmcsa.dot.gov/regulations/cargo-securement/cargo-securement-rules" TargetMode="Externa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jpeg"/><Relationship Id="rId3" Type="http://schemas.openxmlformats.org/officeDocument/2006/relationships/slideLayout" Target="../slideLayouts/slideLayout6.xml"/><Relationship Id="rId7" Type="http://schemas.openxmlformats.org/officeDocument/2006/relationships/hyperlink" Target="https://existec.com/wp-content/uploads/2020/12/CTU-Code-A-Quick-Guide-English.pdf" TargetMode="External"/><Relationship Id="rId2" Type="http://schemas.openxmlformats.org/officeDocument/2006/relationships/video" Target="https://www.youtube.com/embed/2ObQtl21ENw?feature=oembed" TargetMode="External"/><Relationship Id="rId1" Type="http://schemas.openxmlformats.org/officeDocument/2006/relationships/tags" Target="../tags/tag59.xml"/><Relationship Id="rId6" Type="http://schemas.openxmlformats.org/officeDocument/2006/relationships/image" Target="../media/image71.jpeg"/><Relationship Id="rId5" Type="http://schemas.openxmlformats.org/officeDocument/2006/relationships/image" Target="../media/image7.emf"/><Relationship Id="rId10" Type="http://schemas.openxmlformats.org/officeDocument/2006/relationships/image" Target="../media/image73.png"/><Relationship Id="rId4" Type="http://schemas.openxmlformats.org/officeDocument/2006/relationships/oleObject" Target="../embeddings/oleObject30.bin"/><Relationship Id="rId9" Type="http://schemas.openxmlformats.org/officeDocument/2006/relationships/hyperlink" Target="https://existec.com/wp-content/uploads/2021/08/CIGCTU-Code-Container-Packing-Checklist-Sep-2020.pdf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6.xml"/><Relationship Id="rId4" Type="http://schemas.openxmlformats.org/officeDocument/2006/relationships/image" Target="../media/image7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eg"/><Relationship Id="rId13" Type="http://schemas.openxmlformats.org/officeDocument/2006/relationships/image" Target="../media/image82.png"/><Relationship Id="rId3" Type="http://schemas.openxmlformats.org/officeDocument/2006/relationships/oleObject" Target="../embeddings/oleObject31.bin"/><Relationship Id="rId7" Type="http://schemas.openxmlformats.org/officeDocument/2006/relationships/image" Target="../media/image76.png"/><Relationship Id="rId12" Type="http://schemas.openxmlformats.org/officeDocument/2006/relationships/image" Target="../media/image81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2.xml"/><Relationship Id="rId6" Type="http://schemas.openxmlformats.org/officeDocument/2006/relationships/image" Target="../media/image75.png"/><Relationship Id="rId11" Type="http://schemas.openxmlformats.org/officeDocument/2006/relationships/image" Target="../media/image80.emf"/><Relationship Id="rId5" Type="http://schemas.openxmlformats.org/officeDocument/2006/relationships/image" Target="../media/image74.jpeg"/><Relationship Id="rId10" Type="http://schemas.openxmlformats.org/officeDocument/2006/relationships/image" Target="../media/image79.jpeg"/><Relationship Id="rId4" Type="http://schemas.openxmlformats.org/officeDocument/2006/relationships/image" Target="../media/image7.emf"/><Relationship Id="rId9" Type="http://schemas.openxmlformats.org/officeDocument/2006/relationships/image" Target="../media/image78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jpeg"/><Relationship Id="rId13" Type="http://schemas.openxmlformats.org/officeDocument/2006/relationships/image" Target="../media/image91.jpeg"/><Relationship Id="rId3" Type="http://schemas.openxmlformats.org/officeDocument/2006/relationships/image" Target="../media/image83.png"/><Relationship Id="rId7" Type="http://schemas.openxmlformats.org/officeDocument/2006/relationships/image" Target="../media/image7.emf"/><Relationship Id="rId12" Type="http://schemas.openxmlformats.org/officeDocument/2006/relationships/image" Target="../media/image90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3.xml"/><Relationship Id="rId6" Type="http://schemas.openxmlformats.org/officeDocument/2006/relationships/oleObject" Target="../embeddings/oleObject32.bin"/><Relationship Id="rId11" Type="http://schemas.openxmlformats.org/officeDocument/2006/relationships/image" Target="../media/image89.jpeg"/><Relationship Id="rId5" Type="http://schemas.openxmlformats.org/officeDocument/2006/relationships/image" Target="../media/image85.jpeg"/><Relationship Id="rId10" Type="http://schemas.openxmlformats.org/officeDocument/2006/relationships/image" Target="../media/image88.jpeg"/><Relationship Id="rId4" Type="http://schemas.openxmlformats.org/officeDocument/2006/relationships/image" Target="../media/image84.png"/><Relationship Id="rId9" Type="http://schemas.openxmlformats.org/officeDocument/2006/relationships/image" Target="../media/image87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3" Type="http://schemas.openxmlformats.org/officeDocument/2006/relationships/image" Target="../media/image92.jpeg"/><Relationship Id="rId7" Type="http://schemas.openxmlformats.org/officeDocument/2006/relationships/image" Target="../media/image94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4.xml"/><Relationship Id="rId6" Type="http://schemas.openxmlformats.org/officeDocument/2006/relationships/image" Target="../media/image93.jpeg"/><Relationship Id="rId11" Type="http://schemas.openxmlformats.org/officeDocument/2006/relationships/image" Target="../media/image98.jpeg"/><Relationship Id="rId5" Type="http://schemas.openxmlformats.org/officeDocument/2006/relationships/image" Target="../media/image7.emf"/><Relationship Id="rId10" Type="http://schemas.openxmlformats.org/officeDocument/2006/relationships/image" Target="../media/image97.png"/><Relationship Id="rId4" Type="http://schemas.openxmlformats.org/officeDocument/2006/relationships/oleObject" Target="../embeddings/oleObject33.bin"/><Relationship Id="rId9" Type="http://schemas.openxmlformats.org/officeDocument/2006/relationships/image" Target="../media/image9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eg"/><Relationship Id="rId7" Type="http://schemas.openxmlformats.org/officeDocument/2006/relationships/image" Target="../media/image10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02.png"/><Relationship Id="rId5" Type="http://schemas.openxmlformats.org/officeDocument/2006/relationships/image" Target="../media/image101.jpeg"/><Relationship Id="rId4" Type="http://schemas.openxmlformats.org/officeDocument/2006/relationships/image" Target="../media/image100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13" Type="http://schemas.openxmlformats.org/officeDocument/2006/relationships/image" Target="../media/image109.wmf"/><Relationship Id="rId3" Type="http://schemas.openxmlformats.org/officeDocument/2006/relationships/image" Target="../media/image104.png"/><Relationship Id="rId7" Type="http://schemas.openxmlformats.org/officeDocument/2006/relationships/image" Target="../media/image106.wmf"/><Relationship Id="rId12" Type="http://schemas.openxmlformats.org/officeDocument/2006/relationships/oleObject" Target="../embeddings/oleObject38.bin"/><Relationship Id="rId17" Type="http://schemas.openxmlformats.org/officeDocument/2006/relationships/image" Target="../media/image111.wmf"/><Relationship Id="rId2" Type="http://schemas.openxmlformats.org/officeDocument/2006/relationships/notesSlide" Target="../notesSlides/notesSlide2.xml"/><Relationship Id="rId16" Type="http://schemas.openxmlformats.org/officeDocument/2006/relationships/oleObject" Target="../embeddings/oleObject40.bin"/><Relationship Id="rId1" Type="http://schemas.openxmlformats.org/officeDocument/2006/relationships/slideLayout" Target="../slideLayouts/slideLayout16.xml"/><Relationship Id="rId6" Type="http://schemas.openxmlformats.org/officeDocument/2006/relationships/oleObject" Target="../embeddings/oleObject35.bin"/><Relationship Id="rId11" Type="http://schemas.openxmlformats.org/officeDocument/2006/relationships/image" Target="../media/image108.wmf"/><Relationship Id="rId5" Type="http://schemas.openxmlformats.org/officeDocument/2006/relationships/image" Target="../media/image105.wmf"/><Relationship Id="rId15" Type="http://schemas.openxmlformats.org/officeDocument/2006/relationships/image" Target="../media/image110.wmf"/><Relationship Id="rId10" Type="http://schemas.openxmlformats.org/officeDocument/2006/relationships/oleObject" Target="../embeddings/oleObject37.bin"/><Relationship Id="rId4" Type="http://schemas.openxmlformats.org/officeDocument/2006/relationships/oleObject" Target="../embeddings/oleObject34.bin"/><Relationship Id="rId9" Type="http://schemas.openxmlformats.org/officeDocument/2006/relationships/image" Target="../media/image107.wmf"/><Relationship Id="rId14" Type="http://schemas.openxmlformats.org/officeDocument/2006/relationships/oleObject" Target="../embeddings/oleObject39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1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" Target="slide10.xml"/><Relationship Id="rId7" Type="http://schemas.openxmlformats.org/officeDocument/2006/relationships/image" Target="../media/image1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14.wmf"/><Relationship Id="rId5" Type="http://schemas.openxmlformats.org/officeDocument/2006/relationships/oleObject" Target="../embeddings/oleObject41.bin"/><Relationship Id="rId4" Type="http://schemas.openxmlformats.org/officeDocument/2006/relationships/hyperlink" Target="../../Verpackung/Mauser%20Zulassung%20LRF%20120.pdf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11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9.jpeg"/><Relationship Id="rId7" Type="http://schemas.openxmlformats.org/officeDocument/2006/relationships/image" Target="../media/image11.jpe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9.xml"/><Relationship Id="rId6" Type="http://schemas.openxmlformats.org/officeDocument/2006/relationships/image" Target="../media/image10.jpeg"/><Relationship Id="rId11" Type="http://schemas.openxmlformats.org/officeDocument/2006/relationships/image" Target="../media/image15.jpeg"/><Relationship Id="rId5" Type="http://schemas.openxmlformats.org/officeDocument/2006/relationships/image" Target="../media/image7.emf"/><Relationship Id="rId10" Type="http://schemas.openxmlformats.org/officeDocument/2006/relationships/image" Target="../media/image14.png"/><Relationship Id="rId4" Type="http://schemas.openxmlformats.org/officeDocument/2006/relationships/oleObject" Target="../embeddings/oleObject25.bin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17.jpe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0.xml"/><Relationship Id="rId6" Type="http://schemas.openxmlformats.org/officeDocument/2006/relationships/hyperlink" Target="https://brewminate.com/the-question-you-should-never-ask-women-period/" TargetMode="External"/><Relationship Id="rId5" Type="http://schemas.openxmlformats.org/officeDocument/2006/relationships/image" Target="../media/image16.jpeg"/><Relationship Id="rId4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4.xml"/><Relationship Id="rId5" Type="http://schemas.openxmlformats.org/officeDocument/2006/relationships/image" Target="../media/image21.png"/><Relationship Id="rId4" Type="http://schemas.openxmlformats.org/officeDocument/2006/relationships/image" Target="../media/image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A0B7263-D3F8-4CAE-9034-04B66EDD9E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3549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A0B7263-D3F8-4CAE-9034-04B66EDD9E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02FB665-B486-46B0-A49A-BBB78078C5F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err="1">
              <a:solidFill>
                <a:schemeClr val="tx1"/>
              </a:solidFill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039DC58-9889-4EA9-8E71-280E8AE209C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999" y="540000"/>
            <a:ext cx="8473371" cy="1218795"/>
          </a:xfrm>
        </p:spPr>
        <p:txBody>
          <a:bodyPr/>
          <a:lstStyle/>
          <a:p>
            <a:r>
              <a:rPr lang="en-US" dirty="0"/>
              <a:t>Transport Safety Awareness Training for Suppliers</a:t>
            </a: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912AD876-C5B2-4492-8C89-F37014B263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9999" y="2088000"/>
            <a:ext cx="10473057" cy="738664"/>
          </a:xfrm>
        </p:spPr>
        <p:txBody>
          <a:bodyPr/>
          <a:lstStyle/>
          <a:p>
            <a:r>
              <a:rPr lang="en-US" dirty="0"/>
              <a:t>According DSM Life Saving Rules and associated Transport Safety Standard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C28BB352-0125-4E12-BD86-DE657E3C53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Version A: May 2022</a:t>
            </a:r>
          </a:p>
        </p:txBody>
      </p:sp>
      <p:pic>
        <p:nvPicPr>
          <p:cNvPr id="8" name="Picture 154">
            <a:extLst>
              <a:ext uri="{FF2B5EF4-FFF2-40B4-BE49-F238E27FC236}">
                <a16:creationId xmlns:a16="http://schemas.microsoft.com/office/drawing/2014/main" id="{3170CB01-29B5-438A-B0E8-00E5540A21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56606" y="464830"/>
            <a:ext cx="1308660" cy="1308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228243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680B965-9F51-4211-BDCC-8ABCAC4F65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9" imgH="429" progId="TCLayout.ActiveDocument.1">
                  <p:embed/>
                </p:oleObj>
              </mc:Choice>
              <mc:Fallback>
                <p:oleObj name="think-cell Slide" r:id="rId3" imgW="429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680B965-9F51-4211-BDCC-8ABCAC4F6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F232266D-54EA-4201-AC1E-54C8E7FEA2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3. Load Secur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3D9379-D3EC-4EBF-BD55-C16156534A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8000" y="936876"/>
            <a:ext cx="6013313" cy="738664"/>
          </a:xfrm>
        </p:spPr>
        <p:txBody>
          <a:bodyPr/>
          <a:lstStyle/>
          <a:p>
            <a:r>
              <a:rPr lang="en-US" dirty="0"/>
              <a:t>Basics: Six steps to achieve a secured load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8A0074-5DD9-468B-8128-77DBC6D0A0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smtClean="0"/>
              <a:pPr/>
              <a:t>10</a:t>
            </a:fld>
            <a:endParaRPr lang="en-US"/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4FF7B2B2-05C1-4254-A3B6-DE57804F1A9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04961989"/>
              </p:ext>
            </p:extLst>
          </p:nvPr>
        </p:nvGraphicFramePr>
        <p:xfrm>
          <a:off x="467998" y="1228427"/>
          <a:ext cx="11453707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37CB0F33-374E-40F4-9D32-810F6C6F8AFB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23591" y="5175743"/>
            <a:ext cx="1152106" cy="864079"/>
          </a:xfrm>
          <a:prstGeom prst="rect">
            <a:avLst/>
          </a:prstGeom>
        </p:spPr>
      </p:pic>
      <p:pic>
        <p:nvPicPr>
          <p:cNvPr id="15" name="Picture 2" descr="LKW">
            <a:extLst>
              <a:ext uri="{FF2B5EF4-FFF2-40B4-BE49-F238E27FC236}">
                <a16:creationId xmlns:a16="http://schemas.microsoft.com/office/drawing/2014/main" id="{CE1B79C1-C497-4141-9CBD-6699AEB833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2477" y="2228040"/>
            <a:ext cx="1212669" cy="1169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742490C-A536-4727-85DE-DB08E687B4D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743979" y="5242003"/>
            <a:ext cx="1180938" cy="63239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1FF016E-0A23-4671-B6B3-0172AFD6B62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66693" y="2239868"/>
            <a:ext cx="955204" cy="72493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20A8C4D-8854-463A-884D-13971365C3CC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62959" y="3191349"/>
            <a:ext cx="979462" cy="73866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7A690BD-D24F-4E35-A95A-5B6E965F95D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54563" y="4156562"/>
            <a:ext cx="979463" cy="68626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4F949076-ACBF-43A5-9022-4883676F24B6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62959" y="5099394"/>
            <a:ext cx="967333" cy="71878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BFAF75B-EAD1-43EC-BD86-224EFBE208B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778642" y="5440970"/>
            <a:ext cx="1097900" cy="83161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3AF1058-70EC-42A4-A897-4AA4FEFEDF04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776558" y="4575155"/>
            <a:ext cx="1118965" cy="835109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74EC2A1F-B5A0-4679-A10A-9EF8A85011D2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0706440" y="4039270"/>
            <a:ext cx="1180275" cy="779715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3933F80-8E08-4EB2-8842-C8B850BC8AB7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11092711" y="3036391"/>
            <a:ext cx="817250" cy="1124487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DA8B743C-D7E8-4D3C-9659-EDD2114AC7C0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0638670" y="2266583"/>
            <a:ext cx="1017562" cy="1286572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707C1329-3954-4A9E-90DC-E4BCCEFCE409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8832586" y="3235755"/>
            <a:ext cx="938267" cy="64022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F17730B-054B-49EB-820C-BE41A22E6A2A}"/>
              </a:ext>
            </a:extLst>
          </p:cNvPr>
          <p:cNvPicPr>
            <a:picLocks noChangeAspect="1"/>
          </p:cNvPicPr>
          <p:nvPr/>
        </p:nvPicPr>
        <p:blipFill>
          <a:blip r:embed="rId2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96660" y="4166672"/>
            <a:ext cx="1008699" cy="61310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02264329-181F-4DEF-B5DE-4CD639FD0F2B}"/>
              </a:ext>
            </a:extLst>
          </p:cNvPr>
          <p:cNvPicPr>
            <a:picLocks noChangeAspect="1"/>
          </p:cNvPicPr>
          <p:nvPr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1009" y="2290706"/>
            <a:ext cx="544566" cy="64578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4F461C82-67E8-4A9A-9767-C5E882C73651}"/>
              </a:ext>
            </a:extLst>
          </p:cNvPr>
          <p:cNvPicPr>
            <a:picLocks noChangeAspect="1"/>
          </p:cNvPicPr>
          <p:nvPr/>
        </p:nvPicPr>
        <p:blipFill>
          <a:blip r:embed="rId2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2550" y="2290706"/>
            <a:ext cx="530878" cy="645781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BEF0C8FD-1F97-459D-ACB3-290D964C6DB0}"/>
              </a:ext>
            </a:extLst>
          </p:cNvPr>
          <p:cNvPicPr>
            <a:picLocks noChangeAspect="1"/>
          </p:cNvPicPr>
          <p:nvPr/>
        </p:nvPicPr>
        <p:blipFill>
          <a:blip r:embed="rId2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35191" y="5114012"/>
            <a:ext cx="731636" cy="633685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B5BA012B-51F2-401B-AA05-2D06C84C0848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6730267" y="5551897"/>
            <a:ext cx="640135" cy="634039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364A44B7-5585-47EF-AA72-EBB58043C6E9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7322922" y="5521831"/>
            <a:ext cx="658425" cy="6584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571BAB5F-291F-4BF3-8719-960CD0D67520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6983550" y="4474743"/>
            <a:ext cx="668585" cy="663877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D608EC36-130D-4EEE-8206-5A66796FCF8E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6993710" y="3638410"/>
            <a:ext cx="668585" cy="663193"/>
          </a:xfrm>
          <a:prstGeom prst="rect">
            <a:avLst/>
          </a:prstGeom>
        </p:spPr>
      </p:pic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F262218D-8982-48CE-B799-D185FB27D821}"/>
              </a:ext>
            </a:extLst>
          </p:cNvPr>
          <p:cNvSpPr/>
          <p:nvPr/>
        </p:nvSpPr>
        <p:spPr bwMode="auto">
          <a:xfrm>
            <a:off x="8356004" y="1431235"/>
            <a:ext cx="1645601" cy="4998490"/>
          </a:xfrm>
          <a:prstGeom prst="roundRect">
            <a:avLst/>
          </a:prstGeom>
          <a:noFill/>
          <a:ln w="79375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1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4966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2">
            <a:extLst>
              <a:ext uri="{FF2B5EF4-FFF2-40B4-BE49-F238E27FC236}">
                <a16:creationId xmlns:a16="http://schemas.microsoft.com/office/drawing/2014/main" id="{E39EE006-D262-42DF-8203-BCB63507A32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ea typeface="Fira Sans" panose="020B0503050000020004" pitchFamily="34" charset="0"/>
              </a:rPr>
              <a:t>3. Load Securing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1CB6284-639F-4233-ADFF-BF7A588B8B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9658241" cy="2699200"/>
          </a:xfrm>
        </p:spPr>
        <p:txBody>
          <a:bodyPr/>
          <a:lstStyle/>
          <a:p>
            <a:pPr marL="400050" lvl="1" indent="0">
              <a:lnSpc>
                <a:spcPct val="90000"/>
              </a:lnSpc>
              <a:buNone/>
            </a:pPr>
            <a:r>
              <a:rPr lang="en-US" altLang="nl-NL" sz="2000" b="1" dirty="0">
                <a:latin typeface="Fira Sans" panose="020B0503050000020004" pitchFamily="34" charset="0"/>
                <a:ea typeface="Fira Sans" panose="020B0503050000020004" pitchFamily="34" charset="0"/>
              </a:rPr>
              <a:t>The cargo must be positioned (blocked) in such a condition, and when necessary additional lashing actions must be taken, that during normal transport, the goods can not endanger any person.</a:t>
            </a:r>
          </a:p>
          <a:p>
            <a:pPr marL="400050" lvl="1" indent="0">
              <a:lnSpc>
                <a:spcPct val="90000"/>
              </a:lnSpc>
              <a:buNone/>
            </a:pPr>
            <a:endParaRPr lang="en-US" altLang="nl-NL" sz="2000" b="1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pPr lvl="1">
              <a:lnSpc>
                <a:spcPct val="90000"/>
              </a:lnSpc>
              <a:buNone/>
            </a:pPr>
            <a:r>
              <a:rPr lang="en-US" altLang="nl-NL" sz="2000" b="1" dirty="0">
                <a:latin typeface="Fira Sans" panose="020B0503050000020004" pitchFamily="34" charset="0"/>
                <a:ea typeface="Fira Sans" panose="020B0503050000020004" pitchFamily="34" charset="0"/>
              </a:rPr>
              <a:t> </a:t>
            </a:r>
            <a:r>
              <a:rPr lang="en-US" altLang="nl-NL" sz="2000" b="1" dirty="0">
                <a:latin typeface="Fira Sans" panose="020B0503050000020004" pitchFamily="34" charset="0"/>
                <a:ea typeface="Fira Sans" panose="020B0503050000020004" pitchFamily="34" charset="0"/>
                <a:sym typeface="Wingdings" panose="05000000000000000000" pitchFamily="2" charset="2"/>
              </a:rPr>
              <a:t> </a:t>
            </a:r>
            <a:r>
              <a:rPr lang="en-US" altLang="nl-NL" sz="2000" dirty="0">
                <a:latin typeface="Fira Sans" panose="020B0503050000020004" pitchFamily="34" charset="0"/>
                <a:ea typeface="Fira Sans" panose="020B0503050000020004" pitchFamily="34" charset="0"/>
              </a:rPr>
              <a:t>Normal Transport includes:</a:t>
            </a:r>
          </a:p>
          <a:p>
            <a:pPr>
              <a:lnSpc>
                <a:spcPct val="90000"/>
              </a:lnSpc>
              <a:buFont typeface="Monotype Sorts"/>
              <a:buNone/>
            </a:pPr>
            <a:endParaRPr lang="en-US" altLang="nl-NL" b="1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pPr>
              <a:lnSpc>
                <a:spcPct val="90000"/>
              </a:lnSpc>
              <a:buFont typeface="Monotype Sorts"/>
              <a:buNone/>
            </a:pPr>
            <a:r>
              <a:rPr lang="en-US" altLang="nl-NL" dirty="0">
                <a:solidFill>
                  <a:srgbClr val="FF0000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	  	Emergency Brake	</a:t>
            </a:r>
            <a:r>
              <a:rPr lang="en-US" altLang="nl-NL" dirty="0" err="1">
                <a:solidFill>
                  <a:srgbClr val="FF0000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Manoeuvre</a:t>
            </a:r>
            <a:r>
              <a:rPr lang="en-US" altLang="nl-NL" b="1" dirty="0">
                <a:solidFill>
                  <a:srgbClr val="FF0000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	</a:t>
            </a:r>
            <a:r>
              <a:rPr lang="en-US" altLang="nl-NL" dirty="0">
                <a:solidFill>
                  <a:srgbClr val="FF0000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Bad Road Conditions</a:t>
            </a:r>
          </a:p>
          <a:p>
            <a:pPr>
              <a:lnSpc>
                <a:spcPct val="90000"/>
              </a:lnSpc>
            </a:pPr>
            <a:endParaRPr lang="en-US" altLang="nl-NL" sz="16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endParaRPr lang="en-US" dirty="0"/>
          </a:p>
        </p:txBody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id="{BBB5A528-7B77-4925-96C1-5F8D37C6C3ED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>
          <a:xfrm>
            <a:off x="468000" y="936876"/>
            <a:ext cx="11258862" cy="390876"/>
          </a:xfrm>
        </p:spPr>
        <p:txBody>
          <a:bodyPr/>
          <a:lstStyle/>
          <a:p>
            <a:pPr>
              <a:lnSpc>
                <a:spcPct val="90000"/>
              </a:lnSpc>
              <a:buFont typeface="Monotype Sorts"/>
              <a:buNone/>
            </a:pPr>
            <a:r>
              <a:rPr lang="en-US" altLang="nl-NL" sz="1600" b="1" dirty="0">
                <a:latin typeface="Fira Sans" panose="020B0503050000020004" pitchFamily="34" charset="0"/>
                <a:ea typeface="Fira Sans" panose="020B0503050000020004" pitchFamily="34" charset="0"/>
              </a:rPr>
              <a:t>	</a:t>
            </a:r>
            <a:endParaRPr lang="nl-NL" altLang="en-US" sz="1100" dirty="0"/>
          </a:p>
          <a:p>
            <a:pPr eaLnBrk="1" hangingPunct="1"/>
            <a:endParaRPr lang="nl-NL" altLang="en-US" sz="1100" dirty="0"/>
          </a:p>
        </p:txBody>
      </p:sp>
      <p:sp>
        <p:nvSpPr>
          <p:cNvPr id="22530" name="Slide Number Placeholder 3">
            <a:extLst>
              <a:ext uri="{FF2B5EF4-FFF2-40B4-BE49-F238E27FC236}">
                <a16:creationId xmlns:a16="http://schemas.microsoft.com/office/drawing/2014/main" id="{7B768A96-2A2B-453E-93E4-87C3F38C7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 marL="1600200" indent="-22860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4pPr>
            <a:lvl5pPr marL="2057400" indent="-228600"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9pPr>
          </a:lstStyle>
          <a:p>
            <a:pPr>
              <a:buFontTx/>
              <a:buNone/>
            </a:pPr>
            <a:fld id="{EBB68DAD-9531-4586-A152-B29678080055}" type="slidenum">
              <a:rPr lang="en-US" altLang="en-US" smtClean="0">
                <a:solidFill>
                  <a:schemeClr val="bg2"/>
                </a:solidFill>
              </a:rPr>
              <a:pPr>
                <a:buFontTx/>
                <a:buNone/>
              </a:pPr>
              <a:t>11</a:t>
            </a:fld>
            <a:endParaRPr lang="en-US" altLang="en-US">
              <a:solidFill>
                <a:schemeClr val="bg2"/>
              </a:solidFill>
            </a:endParaRPr>
          </a:p>
        </p:txBody>
      </p:sp>
      <p:pic>
        <p:nvPicPr>
          <p:cNvPr id="11" name="Picture 4" descr="16">
            <a:extLst>
              <a:ext uri="{FF2B5EF4-FFF2-40B4-BE49-F238E27FC236}">
                <a16:creationId xmlns:a16="http://schemas.microsoft.com/office/drawing/2014/main" id="{F0288CD5-0A0D-4184-827D-8B5351150E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05759" y="4055487"/>
            <a:ext cx="2135187" cy="137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5" descr="15">
            <a:extLst>
              <a:ext uri="{FF2B5EF4-FFF2-40B4-BE49-F238E27FC236}">
                <a16:creationId xmlns:a16="http://schemas.microsoft.com/office/drawing/2014/main" id="{CE7EAD37-0B3F-41C7-932E-9A82DC7F56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04955" y="3898324"/>
            <a:ext cx="1666875" cy="160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6" descr="19">
            <a:extLst>
              <a:ext uri="{FF2B5EF4-FFF2-40B4-BE49-F238E27FC236}">
                <a16:creationId xmlns:a16="http://schemas.microsoft.com/office/drawing/2014/main" id="{83D29D83-D533-4848-BEC9-65861C2E76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04901" y="4007861"/>
            <a:ext cx="1981200" cy="122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8729048-7B33-4270-9036-D44568DED6AC}"/>
              </a:ext>
            </a:extLst>
          </p:cNvPr>
          <p:cNvSpPr txBox="1">
            <a:spLocks/>
          </p:cNvSpPr>
          <p:nvPr/>
        </p:nvSpPr>
        <p:spPr>
          <a:xfrm>
            <a:off x="468000" y="936876"/>
            <a:ext cx="6743124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1" kern="1200">
                <a:solidFill>
                  <a:srgbClr val="00A3DB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mplementation: Main principle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A picture containing text, indoor&#10;&#10;Description automatically generated">
            <a:extLst>
              <a:ext uri="{FF2B5EF4-FFF2-40B4-BE49-F238E27FC236}">
                <a16:creationId xmlns:a16="http://schemas.microsoft.com/office/drawing/2014/main" id="{F5D1D21F-796E-485D-BEEC-1855963B67E2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300937-8923-480B-9C2F-1C8122D7A9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0" lvl="3" indent="-169862">
              <a:buNone/>
              <a:defRPr/>
            </a:pPr>
            <a:r>
              <a:rPr lang="en-US" altLang="en-US" sz="2000" b="1" dirty="0">
                <a:latin typeface="Fira Sans" panose="020B0503050000020004" pitchFamily="34" charset="0"/>
                <a:ea typeface="Fira Sans" panose="020B0503050000020004" pitchFamily="34" charset="0"/>
              </a:rPr>
              <a:t>5 Steps:</a:t>
            </a:r>
          </a:p>
          <a:p>
            <a:pPr marL="0" lvl="3" indent="-169862">
              <a:buNone/>
              <a:defRPr/>
            </a:pPr>
            <a:endParaRPr lang="en-US" altLang="en-US" sz="16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pPr marL="228600" indent="-228600">
              <a:buFontTx/>
              <a:buAutoNum type="arabicPeriod"/>
              <a:defRPr/>
            </a:pPr>
            <a:r>
              <a:rPr lang="en-US" altLang="en-US" dirty="0">
                <a:latin typeface="Fira Sans" panose="020B0503050000020004" pitchFamily="34" charset="0"/>
                <a:ea typeface="Fira Sans" panose="020B0503050000020004" pitchFamily="34" charset="0"/>
              </a:rPr>
              <a:t>Pre-loading visual check</a:t>
            </a:r>
          </a:p>
          <a:p>
            <a:pPr marL="228600" indent="-228600">
              <a:buFontTx/>
              <a:buAutoNum type="arabicPeriod"/>
              <a:defRPr/>
            </a:pPr>
            <a:endParaRPr lang="en-US" altLang="en-US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pPr marL="228600" indent="-228600">
              <a:buFontTx/>
              <a:buAutoNum type="arabicPeriod"/>
              <a:defRPr/>
            </a:pPr>
            <a:r>
              <a:rPr lang="en-US" altLang="en-US" dirty="0">
                <a:latin typeface="Fira Sans" panose="020B0503050000020004" pitchFamily="34" charset="0"/>
                <a:ea typeface="Fira Sans" panose="020B0503050000020004" pitchFamily="34" charset="0"/>
              </a:rPr>
              <a:t>“Form-fit” Loading</a:t>
            </a:r>
          </a:p>
          <a:p>
            <a:pPr marL="228600" indent="-228600">
              <a:buFontTx/>
              <a:buAutoNum type="arabicPeriod"/>
              <a:defRPr/>
            </a:pPr>
            <a:endParaRPr lang="en-US" altLang="en-US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pPr marL="228600" indent="-228600">
              <a:buFontTx/>
              <a:buAutoNum type="arabicPeriod"/>
              <a:defRPr/>
            </a:pPr>
            <a:r>
              <a:rPr lang="en-US" altLang="en-US" dirty="0">
                <a:latin typeface="Fira Sans" panose="020B0503050000020004" pitchFamily="34" charset="0"/>
                <a:ea typeface="Fira Sans" panose="020B0503050000020004" pitchFamily="34" charset="0"/>
              </a:rPr>
              <a:t>Blocking and bracing</a:t>
            </a:r>
          </a:p>
          <a:p>
            <a:pPr marL="228600" indent="-228600">
              <a:buFontTx/>
              <a:buAutoNum type="arabicPeriod"/>
              <a:defRPr/>
            </a:pPr>
            <a:endParaRPr lang="en-US" altLang="en-US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pPr marL="228600" indent="-228600">
              <a:buFontTx/>
              <a:buAutoNum type="arabicPeriod"/>
              <a:defRPr/>
            </a:pPr>
            <a:r>
              <a:rPr lang="en-US" altLang="en-US" dirty="0">
                <a:latin typeface="Fira Sans" panose="020B0503050000020004" pitchFamily="34" charset="0"/>
                <a:ea typeface="Fira Sans" panose="020B0503050000020004" pitchFamily="34" charset="0"/>
              </a:rPr>
              <a:t>Additional load securing</a:t>
            </a:r>
          </a:p>
          <a:p>
            <a:pPr marL="228600" indent="-228600">
              <a:buFontTx/>
              <a:buAutoNum type="arabicPeriod"/>
              <a:defRPr/>
            </a:pPr>
            <a:endParaRPr lang="en-US" altLang="en-US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pPr marL="228600" indent="-228600">
              <a:buFontTx/>
              <a:buAutoNum type="arabicPeriod"/>
              <a:defRPr/>
            </a:pPr>
            <a:r>
              <a:rPr lang="en-US" altLang="en-US" dirty="0">
                <a:latin typeface="Fira Sans" panose="020B0503050000020004" pitchFamily="34" charset="0"/>
                <a:ea typeface="Fira Sans" panose="020B0503050000020004" pitchFamily="34" charset="0"/>
              </a:rPr>
              <a:t>Post-loading check</a:t>
            </a:r>
            <a:endParaRPr lang="nl-NL" altLang="en-US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endParaRPr lang="en-US" dirty="0"/>
          </a:p>
        </p:txBody>
      </p:sp>
      <p:sp>
        <p:nvSpPr>
          <p:cNvPr id="22531" name="Rectangle 2">
            <a:extLst>
              <a:ext uri="{FF2B5EF4-FFF2-40B4-BE49-F238E27FC236}">
                <a16:creationId xmlns:a16="http://schemas.microsoft.com/office/drawing/2014/main" id="{E39EE006-D262-42DF-8203-BCB63507A32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ea typeface="Fira Sans" panose="020B0503050000020004" pitchFamily="34" charset="0"/>
              </a:rPr>
              <a:t>3. Load Securing</a:t>
            </a:r>
          </a:p>
        </p:txBody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id="{BBB5A528-7B77-4925-96C1-5F8D37C6C3ED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ct val="90000"/>
              </a:lnSpc>
              <a:buFont typeface="Monotype Sorts"/>
              <a:buNone/>
            </a:pPr>
            <a:r>
              <a:rPr lang="en-US" altLang="nl-NL" sz="1600" b="1" dirty="0">
                <a:latin typeface="Fira Sans" panose="020B0503050000020004" pitchFamily="34" charset="0"/>
                <a:ea typeface="Fira Sans" panose="020B0503050000020004" pitchFamily="34" charset="0"/>
              </a:rPr>
              <a:t>	</a:t>
            </a:r>
            <a:endParaRPr lang="nl-NL" altLang="en-US" sz="1100" dirty="0"/>
          </a:p>
          <a:p>
            <a:pPr eaLnBrk="1" hangingPunct="1"/>
            <a:endParaRPr lang="nl-NL" altLang="en-US" sz="1100" dirty="0"/>
          </a:p>
        </p:txBody>
      </p:sp>
      <p:sp>
        <p:nvSpPr>
          <p:cNvPr id="22530" name="Slide Number Placeholder 3">
            <a:extLst>
              <a:ext uri="{FF2B5EF4-FFF2-40B4-BE49-F238E27FC236}">
                <a16:creationId xmlns:a16="http://schemas.microsoft.com/office/drawing/2014/main" id="{7B768A96-2A2B-453E-93E4-87C3F38C7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 marL="1600200" indent="-22860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4pPr>
            <a:lvl5pPr marL="2057400" indent="-228600"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9pPr>
          </a:lstStyle>
          <a:p>
            <a:pPr>
              <a:buFontTx/>
              <a:buNone/>
            </a:pPr>
            <a:fld id="{EBB68DAD-9531-4586-A152-B29678080055}" type="slidenum">
              <a:rPr lang="en-US" altLang="en-US" smtClean="0">
                <a:solidFill>
                  <a:schemeClr val="bg2"/>
                </a:solidFill>
              </a:rPr>
              <a:pPr>
                <a:buFontTx/>
                <a:buNone/>
              </a:pPr>
              <a:t>12</a:t>
            </a:fld>
            <a:endParaRPr lang="en-US" altLang="en-US">
              <a:solidFill>
                <a:schemeClr val="bg2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8729048-7B33-4270-9036-D44568DED6AC}"/>
              </a:ext>
            </a:extLst>
          </p:cNvPr>
          <p:cNvSpPr txBox="1">
            <a:spLocks/>
          </p:cNvSpPr>
          <p:nvPr/>
        </p:nvSpPr>
        <p:spPr>
          <a:xfrm>
            <a:off x="468000" y="936876"/>
            <a:ext cx="6743124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1" kern="1200">
                <a:solidFill>
                  <a:srgbClr val="00A3DB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mplementation: Main steps</a:t>
            </a:r>
          </a:p>
        </p:txBody>
      </p:sp>
      <p:pic>
        <p:nvPicPr>
          <p:cNvPr id="14" name="Graphic 13" descr="Shoe footprints">
            <a:extLst>
              <a:ext uri="{FF2B5EF4-FFF2-40B4-BE49-F238E27FC236}">
                <a16:creationId xmlns:a16="http://schemas.microsoft.com/office/drawing/2014/main" id="{597ED452-30AD-4943-848C-5E68DBC93C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59264" y="3428006"/>
            <a:ext cx="914400" cy="914400"/>
          </a:xfrm>
          <a:prstGeom prst="rect">
            <a:avLst/>
          </a:prstGeom>
        </p:spPr>
      </p:pic>
      <p:pic>
        <p:nvPicPr>
          <p:cNvPr id="15" name="Graphic 14" descr="Shoe footprints">
            <a:extLst>
              <a:ext uri="{FF2B5EF4-FFF2-40B4-BE49-F238E27FC236}">
                <a16:creationId xmlns:a16="http://schemas.microsoft.com/office/drawing/2014/main" id="{1698B338-8C41-4097-9E0B-73A1B5F376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59264" y="2312715"/>
            <a:ext cx="914400" cy="914400"/>
          </a:xfrm>
          <a:prstGeom prst="rect">
            <a:avLst/>
          </a:prstGeom>
        </p:spPr>
      </p:pic>
      <p:pic>
        <p:nvPicPr>
          <p:cNvPr id="16" name="Graphic 15" descr="Shoe footprints">
            <a:extLst>
              <a:ext uri="{FF2B5EF4-FFF2-40B4-BE49-F238E27FC236}">
                <a16:creationId xmlns:a16="http://schemas.microsoft.com/office/drawing/2014/main" id="{D4D08D44-0D2B-4199-AD12-9F3DE2AB49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59264" y="454329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2126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2">
            <a:extLst>
              <a:ext uri="{FF2B5EF4-FFF2-40B4-BE49-F238E27FC236}">
                <a16:creationId xmlns:a16="http://schemas.microsoft.com/office/drawing/2014/main" id="{E39EE006-D262-42DF-8203-BCB63507A32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ea typeface="Fira Sans" panose="020B0503050000020004" pitchFamily="34" charset="0"/>
              </a:rPr>
              <a:t>3. Load Securing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1CB6284-639F-4233-ADFF-BF7A588B8B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9658241" cy="567848"/>
          </a:xfrm>
        </p:spPr>
        <p:txBody>
          <a:bodyPr/>
          <a:lstStyle/>
          <a:p>
            <a:pPr>
              <a:lnSpc>
                <a:spcPct val="90000"/>
              </a:lnSpc>
            </a:pPr>
            <a:endParaRPr lang="en-US" altLang="nl-NL" sz="16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endParaRPr lang="en-US" dirty="0"/>
          </a:p>
        </p:txBody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id="{BBB5A528-7B77-4925-96C1-5F8D37C6C3ED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>
          <a:xfrm>
            <a:off x="468000" y="936876"/>
            <a:ext cx="11258862" cy="390876"/>
          </a:xfrm>
        </p:spPr>
        <p:txBody>
          <a:bodyPr/>
          <a:lstStyle/>
          <a:p>
            <a:pPr>
              <a:lnSpc>
                <a:spcPct val="90000"/>
              </a:lnSpc>
              <a:buFont typeface="Monotype Sorts"/>
              <a:buNone/>
            </a:pPr>
            <a:r>
              <a:rPr lang="en-US" altLang="nl-NL" sz="1600" b="1" dirty="0">
                <a:latin typeface="Fira Sans" panose="020B0503050000020004" pitchFamily="34" charset="0"/>
                <a:ea typeface="Fira Sans" panose="020B0503050000020004" pitchFamily="34" charset="0"/>
              </a:rPr>
              <a:t>	</a:t>
            </a:r>
            <a:endParaRPr lang="nl-NL" altLang="en-US" sz="1100" dirty="0"/>
          </a:p>
          <a:p>
            <a:pPr eaLnBrk="1" hangingPunct="1"/>
            <a:endParaRPr lang="nl-NL" altLang="en-US" sz="1100" dirty="0"/>
          </a:p>
        </p:txBody>
      </p:sp>
      <p:sp>
        <p:nvSpPr>
          <p:cNvPr id="22530" name="Slide Number Placeholder 3">
            <a:extLst>
              <a:ext uri="{FF2B5EF4-FFF2-40B4-BE49-F238E27FC236}">
                <a16:creationId xmlns:a16="http://schemas.microsoft.com/office/drawing/2014/main" id="{7B768A96-2A2B-453E-93E4-87C3F38C7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 marL="1600200" indent="-22860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4pPr>
            <a:lvl5pPr marL="2057400" indent="-228600"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9pPr>
          </a:lstStyle>
          <a:p>
            <a:pPr>
              <a:buFontTx/>
              <a:buNone/>
            </a:pPr>
            <a:fld id="{EBB68DAD-9531-4586-A152-B29678080055}" type="slidenum">
              <a:rPr lang="en-US" altLang="en-US" smtClean="0">
                <a:solidFill>
                  <a:schemeClr val="bg2"/>
                </a:solidFill>
              </a:rPr>
              <a:pPr>
                <a:buFontTx/>
                <a:buNone/>
              </a:pPr>
              <a:t>13</a:t>
            </a:fld>
            <a:endParaRPr lang="en-US" altLang="en-US">
              <a:solidFill>
                <a:schemeClr val="bg2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8729048-7B33-4270-9036-D44568DED6AC}"/>
              </a:ext>
            </a:extLst>
          </p:cNvPr>
          <p:cNvSpPr txBox="1">
            <a:spLocks/>
          </p:cNvSpPr>
          <p:nvPr/>
        </p:nvSpPr>
        <p:spPr>
          <a:xfrm>
            <a:off x="468000" y="936876"/>
            <a:ext cx="6743124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1" kern="1200">
                <a:solidFill>
                  <a:srgbClr val="00A3DB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mplementation: </a:t>
            </a:r>
            <a:r>
              <a:rPr lang="en-US" altLang="nl-NL" sz="2400" b="1" dirty="0">
                <a:solidFill>
                  <a:srgbClr val="009FE3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Step 1. Pre-loading visual check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A59CED5-CBB9-41FC-BFDB-96BAFD6F34D4}"/>
              </a:ext>
            </a:extLst>
          </p:cNvPr>
          <p:cNvSpPr txBox="1">
            <a:spLocks/>
          </p:cNvSpPr>
          <p:nvPr/>
        </p:nvSpPr>
        <p:spPr>
          <a:xfrm>
            <a:off x="468313" y="1800225"/>
            <a:ext cx="7062708" cy="3624263"/>
          </a:xfrm>
          <a:prstGeom prst="rect">
            <a:avLst/>
          </a:prstGeom>
        </p:spPr>
        <p:txBody>
          <a:bodyPr/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nl-NL" sz="2400" dirty="0">
                <a:latin typeface="Fira Sans" panose="020B0503050000020004" pitchFamily="34" charset="0"/>
                <a:ea typeface="Fira Sans" panose="020B0503050000020004" pitchFamily="34" charset="0"/>
              </a:rPr>
              <a:t>Registration</a:t>
            </a:r>
            <a:endParaRPr lang="nl-NL" altLang="nl-NL" sz="24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r>
              <a:rPr lang="en-US" altLang="nl-NL" sz="2400" dirty="0">
                <a:latin typeface="Fira Sans" panose="020B0503050000020004" pitchFamily="34" charset="0"/>
                <a:ea typeface="Fira Sans" panose="020B0503050000020004" pitchFamily="34" charset="0"/>
              </a:rPr>
              <a:t>Tire condition of trailer</a:t>
            </a:r>
            <a:endParaRPr lang="nl-NL" altLang="nl-NL" sz="24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r>
              <a:rPr lang="en-US" altLang="nl-NL" sz="2400" dirty="0">
                <a:latin typeface="Fira Sans" panose="020B0503050000020004" pitchFamily="34" charset="0"/>
                <a:ea typeface="Fira Sans" panose="020B0503050000020004" pitchFamily="34" charset="0"/>
              </a:rPr>
              <a:t>Lights</a:t>
            </a:r>
            <a:endParaRPr lang="nl-NL" altLang="nl-NL" sz="24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r>
              <a:rPr lang="en-US" altLang="nl-NL" sz="2400" dirty="0">
                <a:latin typeface="Fira Sans" panose="020B0503050000020004" pitchFamily="34" charset="0"/>
                <a:ea typeface="Fira Sans" panose="020B0503050000020004" pitchFamily="34" charset="0"/>
              </a:rPr>
              <a:t>Operation of the doors</a:t>
            </a:r>
            <a:endParaRPr lang="nl-NL" altLang="nl-NL" sz="24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r>
              <a:rPr lang="en-US" altLang="nl-NL" sz="2400" dirty="0">
                <a:latin typeface="Fira Sans" panose="020B0503050000020004" pitchFamily="34" charset="0"/>
                <a:ea typeface="Fira Sans" panose="020B0503050000020004" pitchFamily="34" charset="0"/>
              </a:rPr>
              <a:t>Damaged or missing floor or side boards</a:t>
            </a:r>
            <a:endParaRPr lang="nl-NL" altLang="nl-NL" sz="24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r>
              <a:rPr lang="en-US" altLang="nl-NL" sz="2400" dirty="0">
                <a:latin typeface="Fira Sans" panose="020B0503050000020004" pitchFamily="34" charset="0"/>
                <a:ea typeface="Fira Sans" panose="020B0503050000020004" pitchFamily="34" charset="0"/>
              </a:rPr>
              <a:t>No sharp objects that could damage packaging</a:t>
            </a:r>
            <a:endParaRPr lang="nl-NL" altLang="nl-NL" sz="24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r>
              <a:rPr lang="en-US" altLang="nl-NL" sz="2400" dirty="0">
                <a:latin typeface="Fira Sans" panose="020B0503050000020004" pitchFamily="34" charset="0"/>
                <a:ea typeface="Fira Sans" panose="020B0503050000020004" pitchFamily="34" charset="0"/>
              </a:rPr>
              <a:t>No roof damage</a:t>
            </a:r>
            <a:endParaRPr lang="nl-NL" altLang="nl-NL" sz="24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r>
              <a:rPr lang="en-US" altLang="nl-NL" sz="2400" dirty="0">
                <a:latin typeface="Fira Sans" panose="020B0503050000020004" pitchFamily="34" charset="0"/>
                <a:ea typeface="Fira Sans" panose="020B0503050000020004" pitchFamily="34" charset="0"/>
              </a:rPr>
              <a:t>Dry and clean</a:t>
            </a:r>
            <a:endParaRPr lang="nl-NL" altLang="nl-NL" sz="24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r>
              <a:rPr lang="en-US" altLang="nl-NL" sz="2400" dirty="0">
                <a:latin typeface="Fira Sans" panose="020B0503050000020004" pitchFamily="34" charset="0"/>
                <a:ea typeface="Fira Sans" panose="020B0503050000020004" pitchFamily="34" charset="0"/>
              </a:rPr>
              <a:t>Availability and condition of load securing fixtures</a:t>
            </a:r>
            <a:endParaRPr lang="nl-NL" altLang="nl-NL" sz="24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endParaRPr lang="en-US" dirty="0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8AB23A87-CBD4-43E1-A1E4-B9AF20863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84016" y="1383671"/>
            <a:ext cx="2107036" cy="256557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id="{C9633717-6176-4D9A-BDF4-97A4C1D981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10416" y="2805388"/>
            <a:ext cx="2143378" cy="253476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B3F85F1C-F0FE-4CDC-A23B-3293608F04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07309" y="4531346"/>
            <a:ext cx="2383743" cy="178628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86204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2">
            <a:extLst>
              <a:ext uri="{FF2B5EF4-FFF2-40B4-BE49-F238E27FC236}">
                <a16:creationId xmlns:a16="http://schemas.microsoft.com/office/drawing/2014/main" id="{E39EE006-D262-42DF-8203-BCB63507A32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ea typeface="Fira Sans" panose="020B0503050000020004" pitchFamily="34" charset="0"/>
              </a:rPr>
              <a:t>3. Load Securing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1CB6284-639F-4233-ADFF-BF7A588B8B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9658241" cy="567848"/>
          </a:xfrm>
        </p:spPr>
        <p:txBody>
          <a:bodyPr/>
          <a:lstStyle/>
          <a:p>
            <a:pPr>
              <a:lnSpc>
                <a:spcPct val="90000"/>
              </a:lnSpc>
            </a:pPr>
            <a:endParaRPr lang="en-US" altLang="nl-NL" sz="16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endParaRPr lang="en-US" dirty="0"/>
          </a:p>
        </p:txBody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id="{BBB5A528-7B77-4925-96C1-5F8D37C6C3ED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>
          <a:xfrm>
            <a:off x="468000" y="936876"/>
            <a:ext cx="11258862" cy="390876"/>
          </a:xfrm>
        </p:spPr>
        <p:txBody>
          <a:bodyPr/>
          <a:lstStyle/>
          <a:p>
            <a:pPr>
              <a:lnSpc>
                <a:spcPct val="90000"/>
              </a:lnSpc>
              <a:buFont typeface="Monotype Sorts"/>
              <a:buNone/>
            </a:pPr>
            <a:r>
              <a:rPr lang="en-US" altLang="nl-NL" sz="1600" b="1" dirty="0">
                <a:latin typeface="Fira Sans" panose="020B0503050000020004" pitchFamily="34" charset="0"/>
                <a:ea typeface="Fira Sans" panose="020B0503050000020004" pitchFamily="34" charset="0"/>
              </a:rPr>
              <a:t>	</a:t>
            </a:r>
            <a:endParaRPr lang="nl-NL" altLang="en-US" sz="1100" dirty="0"/>
          </a:p>
          <a:p>
            <a:pPr eaLnBrk="1" hangingPunct="1"/>
            <a:endParaRPr lang="nl-NL" altLang="en-US" sz="1100" dirty="0"/>
          </a:p>
        </p:txBody>
      </p:sp>
      <p:sp>
        <p:nvSpPr>
          <p:cNvPr id="22530" name="Slide Number Placeholder 3">
            <a:extLst>
              <a:ext uri="{FF2B5EF4-FFF2-40B4-BE49-F238E27FC236}">
                <a16:creationId xmlns:a16="http://schemas.microsoft.com/office/drawing/2014/main" id="{7B768A96-2A2B-453E-93E4-87C3F38C7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 marL="1600200" indent="-22860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4pPr>
            <a:lvl5pPr marL="2057400" indent="-228600"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9pPr>
          </a:lstStyle>
          <a:p>
            <a:pPr>
              <a:buFontTx/>
              <a:buNone/>
            </a:pPr>
            <a:fld id="{EBB68DAD-9531-4586-A152-B29678080055}" type="slidenum">
              <a:rPr lang="en-US" altLang="en-US" smtClean="0">
                <a:solidFill>
                  <a:schemeClr val="bg2"/>
                </a:solidFill>
              </a:rPr>
              <a:pPr>
                <a:buFontTx/>
                <a:buNone/>
              </a:pPr>
              <a:t>14</a:t>
            </a:fld>
            <a:endParaRPr lang="en-US" altLang="en-US">
              <a:solidFill>
                <a:schemeClr val="bg2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8729048-7B33-4270-9036-D44568DED6AC}"/>
              </a:ext>
            </a:extLst>
          </p:cNvPr>
          <p:cNvSpPr txBox="1">
            <a:spLocks/>
          </p:cNvSpPr>
          <p:nvPr/>
        </p:nvSpPr>
        <p:spPr>
          <a:xfrm>
            <a:off x="468000" y="936876"/>
            <a:ext cx="6743124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1" kern="1200">
                <a:solidFill>
                  <a:srgbClr val="00A3DB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mplementation: </a:t>
            </a:r>
            <a:r>
              <a:rPr lang="en-US" altLang="nl-NL" sz="2400" b="1" dirty="0">
                <a:solidFill>
                  <a:srgbClr val="009FE3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Step 2. “Form-fit” loading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A59CED5-CBB9-41FC-BFDB-96BAFD6F34D4}"/>
              </a:ext>
            </a:extLst>
          </p:cNvPr>
          <p:cNvSpPr txBox="1">
            <a:spLocks/>
          </p:cNvSpPr>
          <p:nvPr/>
        </p:nvSpPr>
        <p:spPr>
          <a:xfrm>
            <a:off x="468313" y="1800225"/>
            <a:ext cx="7062708" cy="3624263"/>
          </a:xfrm>
          <a:prstGeom prst="rect">
            <a:avLst/>
          </a:prstGeom>
        </p:spPr>
        <p:txBody>
          <a:bodyPr/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r>
              <a:rPr lang="en-US" altLang="en-US" sz="2400" dirty="0">
                <a:latin typeface="Fira Sans" panose="020B0503050000020004" pitchFamily="34" charset="0"/>
                <a:ea typeface="Fira Sans" panose="020B0503050000020004" pitchFamily="34" charset="0"/>
              </a:rPr>
              <a:t>Minimize voids / </a:t>
            </a:r>
            <a:r>
              <a:rPr lang="en-US" altLang="en-US" sz="2400" b="1" dirty="0">
                <a:latin typeface="Fira Sans" panose="020B0503050000020004" pitchFamily="34" charset="0"/>
                <a:ea typeface="Fira Sans" panose="020B0503050000020004" pitchFamily="34" charset="0"/>
              </a:rPr>
              <a:t>form-fit loading</a:t>
            </a:r>
          </a:p>
          <a:p>
            <a:pPr eaLnBrk="1" hangingPunct="1"/>
            <a:r>
              <a:rPr lang="en-US" altLang="nl-NL" sz="2400" dirty="0">
                <a:latin typeface="Fira Sans" panose="020B0503050000020004" pitchFamily="34" charset="0"/>
                <a:ea typeface="Fira Sans" panose="020B0503050000020004" pitchFamily="34" charset="0"/>
              </a:rPr>
              <a:t>In accordance with loading plan</a:t>
            </a:r>
            <a:endParaRPr lang="en-US" dirty="0"/>
          </a:p>
        </p:txBody>
      </p:sp>
      <p:pic>
        <p:nvPicPr>
          <p:cNvPr id="11" name="Picture 1">
            <a:extLst>
              <a:ext uri="{FF2B5EF4-FFF2-40B4-BE49-F238E27FC236}">
                <a16:creationId xmlns:a16="http://schemas.microsoft.com/office/drawing/2014/main" id="{B0CA5464-7512-41CF-9E7B-83D9CA8E16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11751" y="1597130"/>
            <a:ext cx="2714803" cy="318688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2">
            <a:extLst>
              <a:ext uri="{FF2B5EF4-FFF2-40B4-BE49-F238E27FC236}">
                <a16:creationId xmlns:a16="http://schemas.microsoft.com/office/drawing/2014/main" id="{B748D0B5-AB1C-41FA-9425-9B9DA77E22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88213" y="714928"/>
            <a:ext cx="2540000" cy="190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01AB1C5-026B-4698-8E0C-BE734C3368A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8440" y="1666635"/>
            <a:ext cx="1891960" cy="129098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86C9ED4-AC06-4CD5-B14F-B439E44052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83890" y="5007263"/>
            <a:ext cx="4894262" cy="1618635"/>
          </a:xfrm>
          <a:prstGeom prst="rect">
            <a:avLst/>
          </a:prstGeom>
        </p:spPr>
      </p:pic>
      <p:pic>
        <p:nvPicPr>
          <p:cNvPr id="15" name="Picture 3">
            <a:extLst>
              <a:ext uri="{FF2B5EF4-FFF2-40B4-BE49-F238E27FC236}">
                <a16:creationId xmlns:a16="http://schemas.microsoft.com/office/drawing/2014/main" id="{2764567E-1987-45B1-84CB-E7FFF6CFC8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80140" y="2718101"/>
            <a:ext cx="3526474" cy="2963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30480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2">
            <a:extLst>
              <a:ext uri="{FF2B5EF4-FFF2-40B4-BE49-F238E27FC236}">
                <a16:creationId xmlns:a16="http://schemas.microsoft.com/office/drawing/2014/main" id="{E39EE006-D262-42DF-8203-BCB63507A32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ea typeface="Fira Sans" panose="020B0503050000020004" pitchFamily="34" charset="0"/>
              </a:rPr>
              <a:t>3. Load Securing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1CB6284-639F-4233-ADFF-BF7A588B8B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9658241" cy="567848"/>
          </a:xfrm>
        </p:spPr>
        <p:txBody>
          <a:bodyPr/>
          <a:lstStyle/>
          <a:p>
            <a:pPr>
              <a:lnSpc>
                <a:spcPct val="90000"/>
              </a:lnSpc>
            </a:pPr>
            <a:endParaRPr lang="en-US" altLang="nl-NL" sz="16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endParaRPr lang="en-US" dirty="0"/>
          </a:p>
        </p:txBody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id="{BBB5A528-7B77-4925-96C1-5F8D37C6C3ED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>
          <a:xfrm>
            <a:off x="468000" y="936876"/>
            <a:ext cx="11258862" cy="390876"/>
          </a:xfrm>
        </p:spPr>
        <p:txBody>
          <a:bodyPr/>
          <a:lstStyle/>
          <a:p>
            <a:pPr>
              <a:lnSpc>
                <a:spcPct val="90000"/>
              </a:lnSpc>
              <a:buFont typeface="Monotype Sorts"/>
              <a:buNone/>
            </a:pPr>
            <a:r>
              <a:rPr lang="en-US" altLang="nl-NL" sz="1600" b="1" dirty="0">
                <a:latin typeface="Fira Sans" panose="020B0503050000020004" pitchFamily="34" charset="0"/>
                <a:ea typeface="Fira Sans" panose="020B0503050000020004" pitchFamily="34" charset="0"/>
              </a:rPr>
              <a:t>	</a:t>
            </a:r>
            <a:endParaRPr lang="nl-NL" altLang="en-US" sz="1100" dirty="0"/>
          </a:p>
          <a:p>
            <a:pPr eaLnBrk="1" hangingPunct="1"/>
            <a:endParaRPr lang="nl-NL" altLang="en-US" sz="1100" dirty="0"/>
          </a:p>
        </p:txBody>
      </p:sp>
      <p:sp>
        <p:nvSpPr>
          <p:cNvPr id="22530" name="Slide Number Placeholder 3">
            <a:extLst>
              <a:ext uri="{FF2B5EF4-FFF2-40B4-BE49-F238E27FC236}">
                <a16:creationId xmlns:a16="http://schemas.microsoft.com/office/drawing/2014/main" id="{7B768A96-2A2B-453E-93E4-87C3F38C7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 marL="1600200" indent="-22860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4pPr>
            <a:lvl5pPr marL="2057400" indent="-228600"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9pPr>
          </a:lstStyle>
          <a:p>
            <a:pPr>
              <a:buFontTx/>
              <a:buNone/>
            </a:pPr>
            <a:fld id="{EBB68DAD-9531-4586-A152-B29678080055}" type="slidenum">
              <a:rPr lang="en-US" altLang="en-US" smtClean="0">
                <a:solidFill>
                  <a:schemeClr val="bg2"/>
                </a:solidFill>
              </a:rPr>
              <a:pPr>
                <a:buFontTx/>
                <a:buNone/>
              </a:pPr>
              <a:t>15</a:t>
            </a:fld>
            <a:endParaRPr lang="en-US" altLang="en-US">
              <a:solidFill>
                <a:schemeClr val="bg2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8729048-7B33-4270-9036-D44568DED6AC}"/>
              </a:ext>
            </a:extLst>
          </p:cNvPr>
          <p:cNvSpPr txBox="1">
            <a:spLocks/>
          </p:cNvSpPr>
          <p:nvPr/>
        </p:nvSpPr>
        <p:spPr>
          <a:xfrm>
            <a:off x="468000" y="936876"/>
            <a:ext cx="6743124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1" kern="1200">
                <a:solidFill>
                  <a:srgbClr val="00A3DB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mplementation: </a:t>
            </a:r>
            <a:r>
              <a:rPr lang="en-US" altLang="nl-NL" sz="2400" b="1" dirty="0">
                <a:solidFill>
                  <a:srgbClr val="009FE3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Step 3. Blocking and bracing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A59CED5-CBB9-41FC-BFDB-96BAFD6F34D4}"/>
              </a:ext>
            </a:extLst>
          </p:cNvPr>
          <p:cNvSpPr txBox="1">
            <a:spLocks/>
          </p:cNvSpPr>
          <p:nvPr/>
        </p:nvSpPr>
        <p:spPr>
          <a:xfrm>
            <a:off x="468313" y="1800225"/>
            <a:ext cx="7062708" cy="3624263"/>
          </a:xfrm>
          <a:prstGeom prst="rect">
            <a:avLst/>
          </a:prstGeom>
        </p:spPr>
        <p:txBody>
          <a:bodyPr/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nl-NL" sz="2400" dirty="0">
                <a:latin typeface="Fira Sans" panose="020B0503050000020004" pitchFamily="34" charset="0"/>
                <a:ea typeface="Fira Sans" panose="020B0503050000020004" pitchFamily="34" charset="0"/>
              </a:rPr>
              <a:t>Threshold blocking</a:t>
            </a:r>
          </a:p>
          <a:p>
            <a:r>
              <a:rPr lang="en-US" altLang="en-US" sz="2400" dirty="0">
                <a:latin typeface="Fira Sans" panose="020B0503050000020004" pitchFamily="34" charset="0"/>
                <a:ea typeface="Fira Sans" panose="020B0503050000020004" pitchFamily="34" charset="0"/>
              </a:rPr>
              <a:t>Panel blocking</a:t>
            </a:r>
          </a:p>
        </p:txBody>
      </p:sp>
      <p:pic>
        <p:nvPicPr>
          <p:cNvPr id="16" name="Picture 6">
            <a:extLst>
              <a:ext uri="{FF2B5EF4-FFF2-40B4-BE49-F238E27FC236}">
                <a16:creationId xmlns:a16="http://schemas.microsoft.com/office/drawing/2014/main" id="{ECB00641-A65E-4015-BD1A-28568BE54B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99622" y="3326679"/>
            <a:ext cx="3503613" cy="2127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7">
            <a:extLst>
              <a:ext uri="{FF2B5EF4-FFF2-40B4-BE49-F238E27FC236}">
                <a16:creationId xmlns:a16="http://schemas.microsoft.com/office/drawing/2014/main" id="{57435378-4AFC-4A28-AA83-A158C4D569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52150" y="3402879"/>
            <a:ext cx="3078163" cy="1974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tangle 1">
            <a:extLst>
              <a:ext uri="{FF2B5EF4-FFF2-40B4-BE49-F238E27FC236}">
                <a16:creationId xmlns:a16="http://schemas.microsoft.com/office/drawing/2014/main" id="{E3042779-0690-4317-9570-8C65A969FA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3686" y="2886075"/>
            <a:ext cx="775820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 marL="1600200" indent="-22860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4pPr>
            <a:lvl5pPr marL="2057400" indent="-228600"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9pPr>
          </a:lstStyle>
          <a:p>
            <a:pPr>
              <a:buFontTx/>
              <a:buNone/>
            </a:pPr>
            <a:r>
              <a:rPr lang="en-GB" altLang="zh-CN" sz="2400" i="1" dirty="0">
                <a:solidFill>
                  <a:srgbClr val="FF0000"/>
                </a:solidFill>
                <a:latin typeface="Fira Sans" panose="020B0503050000020004" pitchFamily="34" charset="0"/>
                <a:ea typeface="Fira Sans" panose="020B0503050000020004" pitchFamily="34" charset="0"/>
                <a:sym typeface="Wingdings" panose="05000000000000000000" pitchFamily="2" charset="2"/>
              </a:rPr>
              <a:t>Threshold blocking	            	Panel blocking </a:t>
            </a:r>
            <a:endParaRPr lang="nl-NL" altLang="nl-NL" sz="2400" dirty="0">
              <a:latin typeface="Fira Sans" panose="020B0503050000020004" pitchFamily="34" charset="0"/>
              <a:ea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40349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2">
            <a:extLst>
              <a:ext uri="{FF2B5EF4-FFF2-40B4-BE49-F238E27FC236}">
                <a16:creationId xmlns:a16="http://schemas.microsoft.com/office/drawing/2014/main" id="{E39EE006-D262-42DF-8203-BCB63507A32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ea typeface="Fira Sans" panose="020B0503050000020004" pitchFamily="34" charset="0"/>
              </a:rPr>
              <a:t>3. Load Securing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1CB6284-639F-4233-ADFF-BF7A588B8B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9658241" cy="567848"/>
          </a:xfrm>
        </p:spPr>
        <p:txBody>
          <a:bodyPr/>
          <a:lstStyle/>
          <a:p>
            <a:pPr>
              <a:lnSpc>
                <a:spcPct val="90000"/>
              </a:lnSpc>
            </a:pPr>
            <a:endParaRPr lang="en-US" altLang="nl-NL" sz="16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endParaRPr lang="en-US" dirty="0"/>
          </a:p>
        </p:txBody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id="{BBB5A528-7B77-4925-96C1-5F8D37C6C3ED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>
          <a:xfrm>
            <a:off x="468000" y="936876"/>
            <a:ext cx="11258862" cy="390876"/>
          </a:xfrm>
        </p:spPr>
        <p:txBody>
          <a:bodyPr/>
          <a:lstStyle/>
          <a:p>
            <a:pPr>
              <a:lnSpc>
                <a:spcPct val="90000"/>
              </a:lnSpc>
              <a:buFont typeface="Monotype Sorts"/>
              <a:buNone/>
            </a:pPr>
            <a:r>
              <a:rPr lang="en-US" altLang="nl-NL" sz="1600" b="1" dirty="0">
                <a:latin typeface="Fira Sans" panose="020B0503050000020004" pitchFamily="34" charset="0"/>
                <a:ea typeface="Fira Sans" panose="020B0503050000020004" pitchFamily="34" charset="0"/>
              </a:rPr>
              <a:t>	</a:t>
            </a:r>
            <a:endParaRPr lang="nl-NL" altLang="en-US" sz="1100" dirty="0"/>
          </a:p>
          <a:p>
            <a:pPr eaLnBrk="1" hangingPunct="1"/>
            <a:endParaRPr lang="nl-NL" altLang="en-US" sz="1100" dirty="0"/>
          </a:p>
        </p:txBody>
      </p:sp>
      <p:sp>
        <p:nvSpPr>
          <p:cNvPr id="22530" name="Slide Number Placeholder 3">
            <a:extLst>
              <a:ext uri="{FF2B5EF4-FFF2-40B4-BE49-F238E27FC236}">
                <a16:creationId xmlns:a16="http://schemas.microsoft.com/office/drawing/2014/main" id="{7B768A96-2A2B-453E-93E4-87C3F38C7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 marL="1600200" indent="-22860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4pPr>
            <a:lvl5pPr marL="2057400" indent="-228600"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9pPr>
          </a:lstStyle>
          <a:p>
            <a:pPr>
              <a:buFontTx/>
              <a:buNone/>
            </a:pPr>
            <a:fld id="{EBB68DAD-9531-4586-A152-B29678080055}" type="slidenum">
              <a:rPr lang="en-US" altLang="en-US" smtClean="0">
                <a:solidFill>
                  <a:schemeClr val="bg2"/>
                </a:solidFill>
              </a:rPr>
              <a:pPr>
                <a:buFontTx/>
                <a:buNone/>
              </a:pPr>
              <a:t>16</a:t>
            </a:fld>
            <a:endParaRPr lang="en-US" altLang="en-US">
              <a:solidFill>
                <a:schemeClr val="bg2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8729048-7B33-4270-9036-D44568DED6AC}"/>
              </a:ext>
            </a:extLst>
          </p:cNvPr>
          <p:cNvSpPr txBox="1">
            <a:spLocks/>
          </p:cNvSpPr>
          <p:nvPr/>
        </p:nvSpPr>
        <p:spPr>
          <a:xfrm>
            <a:off x="468000" y="936876"/>
            <a:ext cx="6743124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1" kern="1200">
                <a:solidFill>
                  <a:srgbClr val="00A3DB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Implementation: </a:t>
            </a:r>
            <a:r>
              <a:rPr lang="en-US" altLang="nl-NL" sz="2400" b="1" dirty="0">
                <a:solidFill>
                  <a:srgbClr val="009FE3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Step 4. Additional load securing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A59CED5-CBB9-41FC-BFDB-96BAFD6F34D4}"/>
              </a:ext>
            </a:extLst>
          </p:cNvPr>
          <p:cNvSpPr txBox="1">
            <a:spLocks/>
          </p:cNvSpPr>
          <p:nvPr/>
        </p:nvSpPr>
        <p:spPr>
          <a:xfrm>
            <a:off x="468313" y="1800225"/>
            <a:ext cx="7062708" cy="3624263"/>
          </a:xfrm>
          <a:prstGeom prst="rect">
            <a:avLst/>
          </a:prstGeom>
        </p:spPr>
        <p:txBody>
          <a:bodyPr/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nl-NL" sz="2400" dirty="0">
                <a:latin typeface="Fira Sans" panose="020B0503050000020004" pitchFamily="34" charset="0"/>
                <a:ea typeface="Fira Sans" panose="020B0503050000020004" pitchFamily="34" charset="0"/>
              </a:rPr>
              <a:t>Use of Load Securing Devices</a:t>
            </a:r>
          </a:p>
          <a:p>
            <a:pPr marL="742950" lvl="1" indent="-342900">
              <a:buFont typeface="Wingdings" panose="05000000000000000000" pitchFamily="2" charset="2"/>
              <a:buChar char="ð"/>
              <a:defRPr/>
            </a:pPr>
            <a:r>
              <a:rPr lang="en-US" altLang="nl-NL" sz="2400" dirty="0">
                <a:latin typeface="Fira Sans" panose="020B0503050000020004" pitchFamily="34" charset="0"/>
                <a:ea typeface="Fira Sans" panose="020B0503050000020004" pitchFamily="34" charset="0"/>
                <a:sym typeface="Wingdings" panose="05000000000000000000" pitchFamily="2" charset="2"/>
              </a:rPr>
              <a:t>Lashing systems</a:t>
            </a:r>
          </a:p>
          <a:p>
            <a:pPr marL="742950" lvl="1" indent="-342900">
              <a:buFont typeface="Wingdings" panose="05000000000000000000" pitchFamily="2" charset="2"/>
              <a:buChar char="ð"/>
              <a:defRPr/>
            </a:pPr>
            <a:r>
              <a:rPr lang="en-US" altLang="nl-NL" sz="2400" dirty="0">
                <a:latin typeface="Fira Sans" panose="020B0503050000020004" pitchFamily="34" charset="0"/>
                <a:ea typeface="Fira Sans" panose="020B0503050000020004" pitchFamily="34" charset="0"/>
                <a:sym typeface="Wingdings" panose="05000000000000000000" pitchFamily="2" charset="2"/>
              </a:rPr>
              <a:t>Dunnage bags</a:t>
            </a:r>
          </a:p>
          <a:p>
            <a:pPr marL="742950" lvl="1" indent="-342900">
              <a:buFont typeface="Wingdings" panose="05000000000000000000" pitchFamily="2" charset="2"/>
              <a:buChar char="ð"/>
              <a:defRPr/>
            </a:pPr>
            <a:r>
              <a:rPr lang="en-US" altLang="nl-NL" sz="2400" dirty="0">
                <a:latin typeface="Fira Sans" panose="020B0503050000020004" pitchFamily="34" charset="0"/>
                <a:ea typeface="Fira Sans" panose="020B0503050000020004" pitchFamily="34" charset="0"/>
                <a:sym typeface="Wingdings" panose="05000000000000000000" pitchFamily="2" charset="2"/>
              </a:rPr>
              <a:t>Anti-slip material</a:t>
            </a:r>
            <a:endParaRPr lang="en-US" altLang="nl-NL" sz="2400" dirty="0">
              <a:latin typeface="Fira Sans" panose="020B0503050000020004" pitchFamily="34" charset="0"/>
              <a:ea typeface="Fira Sans" panose="020B05030500000200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742CE10-1A42-4239-A9D4-BA5488B16C0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54491" y="1919807"/>
            <a:ext cx="1571825" cy="264318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2" descr="Chemie | Rothschenk">
            <a:extLst>
              <a:ext uri="{FF2B5EF4-FFF2-40B4-BE49-F238E27FC236}">
                <a16:creationId xmlns:a16="http://schemas.microsoft.com/office/drawing/2014/main" id="{3D63184D-DD70-4BC3-950A-2B28D27738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0353" y="4790138"/>
            <a:ext cx="2256421" cy="1504281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90DBF2A2-04FD-436D-A507-D0A8A07B324A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9321" y="1950695"/>
            <a:ext cx="1773587" cy="262334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9CB8DB0-D17A-4122-AB1B-D46B184ECB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041935" y="4790138"/>
            <a:ext cx="2675260" cy="151251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AAD7921-4996-46E2-B7A4-CD2998C55E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87059" y="4792967"/>
            <a:ext cx="2677125" cy="151356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D08BC533-6A29-453D-BEB8-DB0A4A69FB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52356" y="4799231"/>
            <a:ext cx="1999542" cy="15010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162DEB83-8523-4CE0-86A7-846EA296F32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33033" y="513086"/>
            <a:ext cx="1727136" cy="222060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 descr="A picture containing text, indoor, stacked, stack&#10;&#10;Description automatically generated">
            <a:extLst>
              <a:ext uri="{FF2B5EF4-FFF2-40B4-BE49-F238E27FC236}">
                <a16:creationId xmlns:a16="http://schemas.microsoft.com/office/drawing/2014/main" id="{3620D4B3-2476-47AD-AA0B-34F9EEC6D25A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3034" y="2879501"/>
            <a:ext cx="1727136" cy="172713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124161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2">
            <a:extLst>
              <a:ext uri="{FF2B5EF4-FFF2-40B4-BE49-F238E27FC236}">
                <a16:creationId xmlns:a16="http://schemas.microsoft.com/office/drawing/2014/main" id="{E39EE006-D262-42DF-8203-BCB63507A326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dirty="0">
                <a:ea typeface="Fira Sans" panose="020B0503050000020004" pitchFamily="34" charset="0"/>
              </a:rPr>
              <a:t>3. Load Securing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1CB6284-639F-4233-ADFF-BF7A588B8B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9658241" cy="567848"/>
          </a:xfrm>
        </p:spPr>
        <p:txBody>
          <a:bodyPr/>
          <a:lstStyle/>
          <a:p>
            <a:pPr>
              <a:lnSpc>
                <a:spcPct val="90000"/>
              </a:lnSpc>
            </a:pPr>
            <a:endParaRPr lang="en-US" altLang="nl-NL" sz="16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endParaRPr lang="en-US" dirty="0"/>
          </a:p>
        </p:txBody>
      </p:sp>
      <p:sp>
        <p:nvSpPr>
          <p:cNvPr id="22532" name="Rectangle 3">
            <a:extLst>
              <a:ext uri="{FF2B5EF4-FFF2-40B4-BE49-F238E27FC236}">
                <a16:creationId xmlns:a16="http://schemas.microsoft.com/office/drawing/2014/main" id="{BBB5A528-7B77-4925-96C1-5F8D37C6C3ED}"/>
              </a:ext>
            </a:extLst>
          </p:cNvPr>
          <p:cNvSpPr>
            <a:spLocks noGrp="1" noChangeArrowheads="1"/>
          </p:cNvSpPr>
          <p:nvPr>
            <p:ph type="body" sz="quarter" idx="13"/>
          </p:nvPr>
        </p:nvSpPr>
        <p:spPr>
          <a:xfrm>
            <a:off x="468000" y="936876"/>
            <a:ext cx="11258862" cy="390876"/>
          </a:xfrm>
        </p:spPr>
        <p:txBody>
          <a:bodyPr/>
          <a:lstStyle/>
          <a:p>
            <a:pPr>
              <a:lnSpc>
                <a:spcPct val="90000"/>
              </a:lnSpc>
              <a:buFont typeface="Monotype Sorts"/>
              <a:buNone/>
            </a:pPr>
            <a:r>
              <a:rPr lang="en-US" altLang="nl-NL" sz="1600" b="1" dirty="0">
                <a:latin typeface="Fira Sans" panose="020B0503050000020004" pitchFamily="34" charset="0"/>
                <a:ea typeface="Fira Sans" panose="020B0503050000020004" pitchFamily="34" charset="0"/>
              </a:rPr>
              <a:t>	</a:t>
            </a:r>
            <a:endParaRPr lang="nl-NL" altLang="en-US" sz="1100" dirty="0"/>
          </a:p>
          <a:p>
            <a:pPr eaLnBrk="1" hangingPunct="1"/>
            <a:endParaRPr lang="nl-NL" altLang="en-US" sz="1100" dirty="0"/>
          </a:p>
        </p:txBody>
      </p:sp>
      <p:sp>
        <p:nvSpPr>
          <p:cNvPr id="22530" name="Slide Number Placeholder 3">
            <a:extLst>
              <a:ext uri="{FF2B5EF4-FFF2-40B4-BE49-F238E27FC236}">
                <a16:creationId xmlns:a16="http://schemas.microsoft.com/office/drawing/2014/main" id="{7B768A96-2A2B-453E-93E4-87C3F38C7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 marL="1600200" indent="-22860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4pPr>
            <a:lvl5pPr marL="2057400" indent="-228600"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9pPr>
          </a:lstStyle>
          <a:p>
            <a:pPr>
              <a:buFontTx/>
              <a:buNone/>
            </a:pPr>
            <a:fld id="{EBB68DAD-9531-4586-A152-B29678080055}" type="slidenum">
              <a:rPr lang="en-US" altLang="en-US" smtClean="0">
                <a:solidFill>
                  <a:schemeClr val="bg2"/>
                </a:solidFill>
              </a:rPr>
              <a:pPr>
                <a:buFontTx/>
                <a:buNone/>
              </a:pPr>
              <a:t>17</a:t>
            </a:fld>
            <a:endParaRPr lang="en-US" altLang="en-US">
              <a:solidFill>
                <a:schemeClr val="bg2"/>
              </a:solidFill>
            </a:endParaRP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8729048-7B33-4270-9036-D44568DED6AC}"/>
              </a:ext>
            </a:extLst>
          </p:cNvPr>
          <p:cNvSpPr txBox="1">
            <a:spLocks/>
          </p:cNvSpPr>
          <p:nvPr/>
        </p:nvSpPr>
        <p:spPr>
          <a:xfrm>
            <a:off x="468000" y="936876"/>
            <a:ext cx="6743124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1" kern="1200">
                <a:solidFill>
                  <a:srgbClr val="00A3DB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Tx/>
              <a:buNone/>
            </a:pPr>
            <a:r>
              <a:rPr lang="en-US" dirty="0"/>
              <a:t>Implementation: </a:t>
            </a:r>
            <a:r>
              <a:rPr lang="en-US" altLang="nl-NL" sz="2400" b="1" dirty="0">
                <a:solidFill>
                  <a:srgbClr val="009FE3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Step 5. Post loading check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A59CED5-CBB9-41FC-BFDB-96BAFD6F34D4}"/>
              </a:ext>
            </a:extLst>
          </p:cNvPr>
          <p:cNvSpPr txBox="1">
            <a:spLocks/>
          </p:cNvSpPr>
          <p:nvPr/>
        </p:nvSpPr>
        <p:spPr>
          <a:xfrm>
            <a:off x="468313" y="1800225"/>
            <a:ext cx="7062708" cy="3624263"/>
          </a:xfrm>
          <a:prstGeom prst="rect">
            <a:avLst/>
          </a:prstGeom>
        </p:spPr>
        <p:txBody>
          <a:bodyPr/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400" dirty="0">
                <a:latin typeface="Fira Sans" panose="020B0503050000020004" pitchFamily="34" charset="0"/>
                <a:ea typeface="Fira Sans" panose="020B0503050000020004" pitchFamily="34" charset="0"/>
              </a:rPr>
              <a:t>Identification of trailer/container and driver</a:t>
            </a:r>
            <a:endParaRPr lang="nl-NL" sz="24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pPr>
              <a:defRPr/>
            </a:pPr>
            <a:r>
              <a:rPr lang="en-US" sz="2400" dirty="0">
                <a:latin typeface="Fira Sans" panose="020B0503050000020004" pitchFamily="34" charset="0"/>
                <a:ea typeface="Fira Sans" panose="020B0503050000020004" pitchFamily="34" charset="0"/>
              </a:rPr>
              <a:t>Load distribution according to loading plan</a:t>
            </a:r>
            <a:endParaRPr lang="nl-NL" sz="24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pPr>
              <a:defRPr/>
            </a:pPr>
            <a:r>
              <a:rPr lang="en-US" sz="2400" dirty="0">
                <a:latin typeface="Fira Sans" panose="020B0503050000020004" pitchFamily="34" charset="0"/>
                <a:ea typeface="Fira Sans" panose="020B0503050000020004" pitchFamily="34" charset="0"/>
              </a:rPr>
              <a:t>Segregation requirements met</a:t>
            </a:r>
            <a:endParaRPr lang="nl-NL" sz="24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pPr>
              <a:defRPr/>
            </a:pPr>
            <a:r>
              <a:rPr lang="en-US" sz="2400" dirty="0">
                <a:latin typeface="Fira Sans" panose="020B0503050000020004" pitchFamily="34" charset="0"/>
                <a:ea typeface="Fira Sans" panose="020B0503050000020004" pitchFamily="34" charset="0"/>
              </a:rPr>
              <a:t>Load properly secured (blocking and bracing and additional methods)</a:t>
            </a:r>
            <a:endParaRPr lang="nl-NL" sz="24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pPr>
              <a:defRPr/>
            </a:pPr>
            <a:r>
              <a:rPr lang="en-US" sz="2400" dirty="0">
                <a:latin typeface="Fira Sans" panose="020B0503050000020004" pitchFamily="34" charset="0"/>
                <a:ea typeface="Fira Sans" panose="020B0503050000020004" pitchFamily="34" charset="0"/>
              </a:rPr>
              <a:t>Placards in place (if applicable)</a:t>
            </a:r>
            <a:endParaRPr lang="nl-NL" sz="24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pPr>
              <a:defRPr/>
            </a:pPr>
            <a:r>
              <a:rPr lang="en-US" sz="2400" dirty="0">
                <a:latin typeface="Fira Sans" panose="020B0503050000020004" pitchFamily="34" charset="0"/>
                <a:ea typeface="Fira Sans" panose="020B0503050000020004" pitchFamily="34" charset="0"/>
              </a:rPr>
              <a:t>Photograph(s) taken </a:t>
            </a:r>
          </a:p>
          <a:p>
            <a:pPr>
              <a:defRPr/>
            </a:pPr>
            <a:r>
              <a:rPr lang="en-US" sz="2400" dirty="0">
                <a:latin typeface="Fira Sans" panose="020B0503050000020004" pitchFamily="34" charset="0"/>
                <a:ea typeface="Fira Sans" panose="020B0503050000020004" pitchFamily="34" charset="0"/>
              </a:rPr>
              <a:t>Doors closed </a:t>
            </a:r>
            <a:endParaRPr lang="nl-NL" sz="240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pPr>
              <a:defRPr/>
            </a:pPr>
            <a:r>
              <a:rPr lang="en-US" sz="2400" dirty="0">
                <a:latin typeface="Fira Sans" panose="020B0503050000020004" pitchFamily="34" charset="0"/>
                <a:ea typeface="Fira Sans" panose="020B0503050000020004" pitchFamily="34" charset="0"/>
              </a:rPr>
              <a:t>Doors sealed (if applicable)</a:t>
            </a:r>
            <a:endParaRPr lang="nl-NL" sz="2400" dirty="0">
              <a:latin typeface="Fira Sans" panose="020B0503050000020004" pitchFamily="34" charset="0"/>
              <a:ea typeface="Fira Sans" panose="020B0503050000020004" pitchFamily="34" charset="0"/>
            </a:endParaRPr>
          </a:p>
        </p:txBody>
      </p:sp>
      <p:pic>
        <p:nvPicPr>
          <p:cNvPr id="16" name="Picture 6">
            <a:extLst>
              <a:ext uri="{FF2B5EF4-FFF2-40B4-BE49-F238E27FC236}">
                <a16:creationId xmlns:a16="http://schemas.microsoft.com/office/drawing/2014/main" id="{FA44DECA-B9C3-49F7-A96A-22AAF26846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48348" y="3626074"/>
            <a:ext cx="3087472" cy="231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6">
            <a:extLst>
              <a:ext uri="{FF2B5EF4-FFF2-40B4-BE49-F238E27FC236}">
                <a16:creationId xmlns:a16="http://schemas.microsoft.com/office/drawing/2014/main" id="{BDD72578-7A0D-4A02-A429-30AAC16500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31685" y="2053437"/>
            <a:ext cx="2104135" cy="131942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">
            <a:extLst>
              <a:ext uri="{FF2B5EF4-FFF2-40B4-BE49-F238E27FC236}">
                <a16:creationId xmlns:a16="http://schemas.microsoft.com/office/drawing/2014/main" id="{BF086F0D-6ACC-4F04-BF3D-BBF417D394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11124" y="1304935"/>
            <a:ext cx="2383559" cy="206792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ED810AE-2A95-4C1C-859B-A3FD6FB737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06034" y="3624853"/>
            <a:ext cx="1769930" cy="275253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045578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A53F64-9A5B-4C10-A48A-8A2F2A87CA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9" imgH="429" progId="TCLayout.ActiveDocument.1">
                  <p:embed/>
                </p:oleObj>
              </mc:Choice>
              <mc:Fallback>
                <p:oleObj name="think-cell Slide" r:id="rId3" imgW="429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9A53F64-9A5B-4C10-A48A-8A2F2A87C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82B619C-38F8-4772-83FA-33EF7D13A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3. Load Securing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7A74A20-5DE0-4831-92C2-AEA70B0771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0964527" cy="307777"/>
          </a:xfrm>
        </p:spPr>
        <p:txBody>
          <a:bodyPr/>
          <a:lstStyle/>
          <a:p>
            <a:pPr marL="0" indent="0">
              <a:buNone/>
            </a:pPr>
            <a:r>
              <a:rPr lang="en-US" altLang="en-US" dirty="0"/>
              <a:t>For practical guidance to ensure load securing in accordance with DSM standards, see: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21DEB0-53F4-4A9F-A9A2-BBAE300104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DSM Life Saving Rules complian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3AB280-8787-47A3-A885-366424D6B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smtClean="0"/>
              <a:pPr/>
              <a:t>18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4FF50C4-7EDD-4394-B54F-6A12FB19F17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3424" y="3749645"/>
            <a:ext cx="1506652" cy="99532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87707C5-6C28-45CF-AED9-104B31C1C36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25129" y="4824987"/>
            <a:ext cx="1043241" cy="143543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E39CB2F-C6A3-4886-86EF-0A82EF17A6A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2227" y="2062916"/>
            <a:ext cx="1415786" cy="1790072"/>
          </a:xfrm>
          <a:prstGeom prst="rect">
            <a:avLst/>
          </a:prstGeom>
        </p:spPr>
      </p:pic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74937859-55F5-4D87-B405-5AA9D2BF13C6}"/>
              </a:ext>
            </a:extLst>
          </p:cNvPr>
          <p:cNvSpPr txBox="1">
            <a:spLocks/>
          </p:cNvSpPr>
          <p:nvPr/>
        </p:nvSpPr>
        <p:spPr>
          <a:xfrm>
            <a:off x="2092994" y="2754184"/>
            <a:ext cx="9425039" cy="30777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altLang="en-US" dirty="0">
                <a:hlinkClick r:id="rId8"/>
              </a:rPr>
              <a:t>IMO/ILO/UNECE Code of Practice for Packing of Cargo Transport Units (CTU Code)</a:t>
            </a:r>
            <a:endParaRPr lang="en-US" alt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altLang="en-US" dirty="0">
              <a:hlinkClick r:id="rId9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altLang="en-US" dirty="0">
              <a:hlinkClick r:id="rId9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altLang="en-US" dirty="0">
              <a:hlinkClick r:id="rId9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altLang="en-US" dirty="0">
                <a:hlinkClick r:id="rId9"/>
              </a:rPr>
              <a:t>Cargo Securement Rules based on North American Cargo Securement Standard</a:t>
            </a:r>
            <a:endParaRPr lang="en-US" altLang="en-US" dirty="0"/>
          </a:p>
          <a:p>
            <a:pPr marL="0" indent="0">
              <a:buFont typeface="Arial" panose="020B0604020202020204" pitchFamily="34" charset="0"/>
              <a:buNone/>
            </a:pPr>
            <a:endParaRPr lang="en-US" altLang="en-US" dirty="0">
              <a:hlinkClick r:id="rId1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altLang="en-US" dirty="0">
              <a:hlinkClick r:id="rId1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en-US" altLang="en-US" dirty="0">
              <a:hlinkClick r:id="rId1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en-US" altLang="en-US" dirty="0">
                <a:hlinkClick r:id="rId10"/>
              </a:rPr>
              <a:t>European Best Practices Guidelines on Cargo Securing for Road Transport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433391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A53F64-9A5B-4C10-A48A-8A2F2A87CA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9A53F64-9A5B-4C10-A48A-8A2F2A87C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82B619C-38F8-4772-83FA-33EF7D13A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3. Load Securing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7A74A20-5DE0-4831-92C2-AEA70B07717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0964527" cy="307777"/>
          </a:xfrm>
        </p:spPr>
        <p:txBody>
          <a:bodyPr/>
          <a:lstStyle/>
          <a:p>
            <a:pPr marL="0" indent="0">
              <a:buNone/>
            </a:pPr>
            <a:r>
              <a:rPr lang="en-US" altLang="en-US" dirty="0"/>
              <a:t>Free online webinar and supporting practices on </a:t>
            </a:r>
            <a:r>
              <a:rPr lang="en-US" altLang="en-US" b="1" dirty="0"/>
              <a:t>CTU Code </a:t>
            </a:r>
            <a:r>
              <a:rPr lang="en-US" altLang="en-US" dirty="0"/>
              <a:t>basics: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21DEB0-53F4-4A9F-A9A2-BBAE300104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DSM Life Saving Rules complian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3AB280-8787-47A3-A885-366424D6B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smtClean="0"/>
              <a:pPr/>
              <a:t>19</a:t>
            </a:fld>
            <a:endParaRPr lang="en-US"/>
          </a:p>
        </p:txBody>
      </p:sp>
      <p:pic>
        <p:nvPicPr>
          <p:cNvPr id="2" name="Online Media 1" title="CTU Code General Awareness Webinar">
            <a:hlinkClick r:id="" action="ppaction://media"/>
            <a:extLst>
              <a:ext uri="{FF2B5EF4-FFF2-40B4-BE49-F238E27FC236}">
                <a16:creationId xmlns:a16="http://schemas.microsoft.com/office/drawing/2014/main" id="{5E5C863A-D3A2-44C4-B214-72E388F70CD9}"/>
              </a:ext>
            </a:extLst>
          </p:cNvPr>
          <p:cNvPicPr>
            <a:picLocks noRot="1" noChangeAspect="1"/>
          </p:cNvPicPr>
          <p:nvPr>
            <a:videoFile r:link="rId2"/>
          </p:nvPr>
        </p:nvPicPr>
        <p:blipFill>
          <a:blip r:embed="rId6"/>
          <a:stretch>
            <a:fillRect/>
          </a:stretch>
        </p:blipFill>
        <p:spPr>
          <a:xfrm>
            <a:off x="468000" y="2442449"/>
            <a:ext cx="5918945" cy="33442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Picture 6">
            <a:hlinkClick r:id="rId7"/>
            <a:extLst>
              <a:ext uri="{FF2B5EF4-FFF2-40B4-BE49-F238E27FC236}">
                <a16:creationId xmlns:a16="http://schemas.microsoft.com/office/drawing/2014/main" id="{573983DA-2564-45A1-8150-750BCA550108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28087" y="2442448"/>
            <a:ext cx="2353567" cy="334116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hlinkClick r:id="rId9"/>
            <a:extLst>
              <a:ext uri="{FF2B5EF4-FFF2-40B4-BE49-F238E27FC236}">
                <a16:creationId xmlns:a16="http://schemas.microsoft.com/office/drawing/2014/main" id="{619649A4-EC25-47D3-9402-9086A8B36C36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22796" y="2442448"/>
            <a:ext cx="2364478" cy="334116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6043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A53F64-9A5B-4C10-A48A-8A2F2A87CA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3500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9" imgH="429" progId="TCLayout.ActiveDocument.1">
                  <p:embed/>
                </p:oleObj>
              </mc:Choice>
              <mc:Fallback>
                <p:oleObj name="think-cell Slide" r:id="rId3" imgW="429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9A53F64-9A5B-4C10-A48A-8A2F2A87C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82B619C-38F8-4772-83FA-33EF7D13A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9" y="468000"/>
            <a:ext cx="10516160" cy="443198"/>
          </a:xfrm>
        </p:spPr>
        <p:txBody>
          <a:bodyPr/>
          <a:lstStyle/>
          <a:p>
            <a:r>
              <a:rPr lang="en-US" dirty="0"/>
              <a:t>Transport Safety Awareness Training for Supplier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21DEB0-53F4-4A9F-A9A2-BBAE300104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8000" y="936876"/>
            <a:ext cx="10413928" cy="1107996"/>
          </a:xfrm>
        </p:spPr>
        <p:txBody>
          <a:bodyPr/>
          <a:lstStyle/>
          <a:p>
            <a:r>
              <a:rPr lang="en-US" dirty="0"/>
              <a:t>According DSM Life Saving Rules and associated Transport Safety Standard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3AB280-8787-47A3-A885-366424D6B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smtClean="0"/>
              <a:pPr/>
              <a:t>2</a:t>
            </a:fld>
            <a:endParaRPr lang="en-US"/>
          </a:p>
        </p:txBody>
      </p:sp>
      <p:graphicFrame>
        <p:nvGraphicFramePr>
          <p:cNvPr id="16" name="Table 2">
            <a:extLst>
              <a:ext uri="{FF2B5EF4-FFF2-40B4-BE49-F238E27FC236}">
                <a16:creationId xmlns:a16="http://schemas.microsoft.com/office/drawing/2014/main" id="{53FA80FD-899E-48F9-8360-8DE02D4B92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7825287"/>
              </p:ext>
            </p:extLst>
          </p:nvPr>
        </p:nvGraphicFramePr>
        <p:xfrm>
          <a:off x="467999" y="1539716"/>
          <a:ext cx="9011091" cy="338170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97909">
                  <a:extLst>
                    <a:ext uri="{9D8B030D-6E8A-4147-A177-3AD203B41FA5}">
                      <a16:colId xmlns:a16="http://schemas.microsoft.com/office/drawing/2014/main" val="1386213920"/>
                    </a:ext>
                  </a:extLst>
                </a:gridCol>
                <a:gridCol w="8413182">
                  <a:extLst>
                    <a:ext uri="{9D8B030D-6E8A-4147-A177-3AD203B41FA5}">
                      <a16:colId xmlns:a16="http://schemas.microsoft.com/office/drawing/2014/main" val="250727229"/>
                    </a:ext>
                  </a:extLst>
                </a:gridCol>
              </a:tblGrid>
              <a:tr h="821384">
                <a:tc>
                  <a:txBody>
                    <a:bodyPr/>
                    <a:lstStyle/>
                    <a:p>
                      <a:r>
                        <a:rPr lang="en-US">
                          <a:latin typeface="Fira Sans" panose="020B0503050000020004" pitchFamily="34" charset="0"/>
                          <a:ea typeface="Fira Sans" panose="020B0503050000020004" pitchFamily="34" charset="0"/>
                        </a:rPr>
                        <a:t>1</a:t>
                      </a:r>
                      <a:endParaRPr lang="nl-NL">
                        <a:latin typeface="Fira Sans" panose="020B0503050000020004" pitchFamily="34" charset="0"/>
                        <a:ea typeface="Fira Sans" panose="020B05030500000200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Fira Sans" panose="020B0503050000020004" pitchFamily="34" charset="0"/>
                          <a:ea typeface="Fira Sans" panose="020B0503050000020004" pitchFamily="34" charset="0"/>
                        </a:rPr>
                        <a:t>Why is Transport Safety important?</a:t>
                      </a:r>
                    </a:p>
                    <a:p>
                      <a:r>
                        <a:rPr lang="en-US" dirty="0">
                          <a:latin typeface="Fira Sans" panose="020B0503050000020004" pitchFamily="34" charset="0"/>
                          <a:ea typeface="Fira Sans" panose="020B0503050000020004" pitchFamily="34" charset="0"/>
                        </a:rPr>
                        <a:t>&amp; What’s in it for you as Supplier? </a:t>
                      </a:r>
                      <a:endParaRPr lang="nl-NL" dirty="0">
                        <a:latin typeface="Fira Sans" panose="020B0503050000020004" pitchFamily="34" charset="0"/>
                        <a:ea typeface="Fira Sans" panose="020B05030500000200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6725717"/>
                  </a:ext>
                </a:extLst>
              </a:tr>
              <a:tr h="475881">
                <a:tc>
                  <a:txBody>
                    <a:bodyPr/>
                    <a:lstStyle/>
                    <a:p>
                      <a:r>
                        <a:rPr lang="en-US">
                          <a:latin typeface="Fira Sans" panose="020B0503050000020004" pitchFamily="34" charset="0"/>
                          <a:ea typeface="Fira Sans" panose="020B0503050000020004" pitchFamily="34" charset="0"/>
                        </a:rPr>
                        <a:t>2</a:t>
                      </a:r>
                      <a:endParaRPr lang="nl-NL">
                        <a:latin typeface="Fira Sans" panose="020B0503050000020004" pitchFamily="34" charset="0"/>
                        <a:ea typeface="Fira Sans" panose="020B05030500000200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Fira Sans" panose="020B0503050000020004" pitchFamily="34" charset="0"/>
                          <a:ea typeface="Fira Sans" panose="020B0503050000020004" pitchFamily="34" charset="0"/>
                        </a:rPr>
                        <a:t>DSM Life Saving Rules </a:t>
                      </a:r>
                      <a:r>
                        <a:rPr lang="en-US" dirty="0">
                          <a:latin typeface="Fira Sans" panose="020B0503050000020004" pitchFamily="34" charset="0"/>
                          <a:ea typeface="Fira Sans" panose="020B0503050000020004" pitchFamily="34" charset="0"/>
                          <a:sym typeface="Wingdings" panose="05000000000000000000" pitchFamily="2" charset="2"/>
                        </a:rPr>
                        <a:t></a:t>
                      </a:r>
                      <a:r>
                        <a:rPr lang="en-US" dirty="0">
                          <a:latin typeface="Fira Sans" panose="020B0503050000020004" pitchFamily="34" charset="0"/>
                          <a:ea typeface="Fira Sans" panose="020B0503050000020004" pitchFamily="34" charset="0"/>
                        </a:rPr>
                        <a:t> DSM Transport Safety Requirements </a:t>
                      </a:r>
                    </a:p>
                    <a:p>
                      <a:endParaRPr lang="en-US" dirty="0">
                        <a:latin typeface="Fira Sans" panose="020B0503050000020004" pitchFamily="34" charset="0"/>
                        <a:ea typeface="Fira Sans" panose="020B05030500000200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8889146"/>
                  </a:ext>
                </a:extLst>
              </a:tr>
              <a:tr h="475881">
                <a:tc>
                  <a:txBody>
                    <a:bodyPr/>
                    <a:lstStyle/>
                    <a:p>
                      <a:r>
                        <a:rPr lang="en-US">
                          <a:latin typeface="Fira Sans" panose="020B0503050000020004" pitchFamily="34" charset="0"/>
                          <a:ea typeface="Fira Sans" panose="020B0503050000020004" pitchFamily="34" charset="0"/>
                        </a:rPr>
                        <a:t>3</a:t>
                      </a:r>
                      <a:endParaRPr lang="nl-NL">
                        <a:latin typeface="Fira Sans" panose="020B0503050000020004" pitchFamily="34" charset="0"/>
                        <a:ea typeface="Fira Sans" panose="020B05030500000200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Fira Sans" panose="020B0503050000020004" pitchFamily="34" charset="0"/>
                          <a:ea typeface="Fira Sans" panose="020B0503050000020004" pitchFamily="34" charset="0"/>
                        </a:rPr>
                        <a:t>Load Securing </a:t>
                      </a:r>
                    </a:p>
                    <a:p>
                      <a:endParaRPr lang="en-US" dirty="0">
                        <a:latin typeface="Fira Sans" panose="020B0503050000020004" pitchFamily="34" charset="0"/>
                        <a:ea typeface="Fira Sans" panose="020B05030500000200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7270093"/>
                  </a:ext>
                </a:extLst>
              </a:tr>
              <a:tr h="475881">
                <a:tc>
                  <a:txBody>
                    <a:bodyPr/>
                    <a:lstStyle/>
                    <a:p>
                      <a:r>
                        <a:rPr lang="en-US">
                          <a:latin typeface="Fira Sans" panose="020B0503050000020004" pitchFamily="34" charset="0"/>
                          <a:ea typeface="Fira Sans" panose="020B0503050000020004" pitchFamily="34" charset="0"/>
                        </a:rPr>
                        <a:t>4</a:t>
                      </a:r>
                      <a:endParaRPr lang="nl-NL">
                        <a:latin typeface="Fira Sans" panose="020B0503050000020004" pitchFamily="34" charset="0"/>
                        <a:ea typeface="Fira Sans" panose="020B05030500000200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Fira Sans" panose="020B0503050000020004" pitchFamily="34" charset="0"/>
                          <a:ea typeface="Fira Sans" panose="020B0503050000020004" pitchFamily="34" charset="0"/>
                        </a:rPr>
                        <a:t>Safe loading &amp; unloading </a:t>
                      </a:r>
                    </a:p>
                    <a:p>
                      <a:endParaRPr lang="en-US" dirty="0">
                        <a:latin typeface="Fira Sans" panose="020B0503050000020004" pitchFamily="34" charset="0"/>
                        <a:ea typeface="Fira Sans" panose="020B05030500000200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8486356"/>
                  </a:ext>
                </a:extLst>
              </a:tr>
              <a:tr h="475881">
                <a:tc>
                  <a:txBody>
                    <a:bodyPr/>
                    <a:lstStyle/>
                    <a:p>
                      <a:r>
                        <a:rPr lang="en-US">
                          <a:latin typeface="Fira Sans" panose="020B0503050000020004" pitchFamily="34" charset="0"/>
                          <a:ea typeface="Fira Sans" panose="020B0503050000020004" pitchFamily="34" charset="0"/>
                        </a:rPr>
                        <a:t>5</a:t>
                      </a:r>
                      <a:endParaRPr lang="nl-NL">
                        <a:latin typeface="Fira Sans" panose="020B0503050000020004" pitchFamily="34" charset="0"/>
                        <a:ea typeface="Fira Sans" panose="020B05030500000200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>
                          <a:latin typeface="Fira Sans" panose="020B0503050000020004" pitchFamily="34" charset="0"/>
                          <a:ea typeface="Fira Sans" panose="020B0503050000020004" pitchFamily="34" charset="0"/>
                        </a:rPr>
                        <a:t>Dangerous Goods Transport </a:t>
                      </a:r>
                    </a:p>
                    <a:p>
                      <a:endParaRPr lang="en-US" dirty="0">
                        <a:latin typeface="Fira Sans" panose="020B0503050000020004" pitchFamily="34" charset="0"/>
                        <a:ea typeface="Fira Sans" panose="020B05030500000200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92420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9708228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1A240E-894C-4F08-A5D9-CC628572EB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1A240E-894C-4F08-A5D9-CC628572E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8E6EF11-4244-4FD6-B99F-A29DCC361A3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err="1">
              <a:solidFill>
                <a:schemeClr val="tx1"/>
              </a:solidFill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2D7C88-9F8E-4607-B42E-A0DBD50302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540000"/>
            <a:ext cx="9144000" cy="609398"/>
          </a:xfrm>
        </p:spPr>
        <p:txBody>
          <a:bodyPr/>
          <a:lstStyle/>
          <a:p>
            <a:r>
              <a:rPr lang="en-US"/>
              <a:t>4. Safe loading &amp; unload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824DFE-2210-433E-B845-BD8E2BBB5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smtClean="0"/>
              <a:pPr/>
              <a:t>20</a:t>
            </a:fld>
            <a:endParaRPr lang="en-US"/>
          </a:p>
        </p:txBody>
      </p:sp>
      <p:pic>
        <p:nvPicPr>
          <p:cNvPr id="9" name="Picture 154">
            <a:extLst>
              <a:ext uri="{FF2B5EF4-FFF2-40B4-BE49-F238E27FC236}">
                <a16:creationId xmlns:a16="http://schemas.microsoft.com/office/drawing/2014/main" id="{1ED47D21-D23A-497F-912B-6735AE056A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56606" y="464830"/>
            <a:ext cx="1308660" cy="1308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63197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A53F64-9A5B-4C10-A48A-8A2F2A87CA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9" imgH="429" progId="TCLayout.ActiveDocument.1">
                  <p:embed/>
                </p:oleObj>
              </mc:Choice>
              <mc:Fallback>
                <p:oleObj name="think-cell Slide" r:id="rId3" imgW="429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9A53F64-9A5B-4C10-A48A-8A2F2A87C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82B619C-38F8-4772-83FA-33EF7D13A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4. Safe loading &amp; unlo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21DEB0-53F4-4A9F-A9A2-BBAE300104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8000" y="936876"/>
            <a:ext cx="10858761" cy="369332"/>
          </a:xfrm>
        </p:spPr>
        <p:txBody>
          <a:bodyPr/>
          <a:lstStyle/>
          <a:p>
            <a:r>
              <a:rPr lang="en-US"/>
              <a:t>Keep people out of the hazard zone when opening containers or truck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3AB280-8787-47A3-A885-366424D6B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16" name="Picture 7" descr="image001">
            <a:extLst>
              <a:ext uri="{FF2B5EF4-FFF2-40B4-BE49-F238E27FC236}">
                <a16:creationId xmlns:a16="http://schemas.microsoft.com/office/drawing/2014/main" id="{F24ACA4E-58DA-4E8B-A767-951938EF02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88542" y="4054787"/>
            <a:ext cx="2839633" cy="1984577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3">
            <a:extLst>
              <a:ext uri="{FF2B5EF4-FFF2-40B4-BE49-F238E27FC236}">
                <a16:creationId xmlns:a16="http://schemas.microsoft.com/office/drawing/2014/main" id="{212AFE9A-8F59-4465-B6AD-3A6310C96F9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13223" y="1435192"/>
            <a:ext cx="2066164" cy="2249566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4">
            <a:extLst>
              <a:ext uri="{FF2B5EF4-FFF2-40B4-BE49-F238E27FC236}">
                <a16:creationId xmlns:a16="http://schemas.microsoft.com/office/drawing/2014/main" id="{A2EE72C2-919C-4BFC-8444-C4CA315332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59745" y="4068783"/>
            <a:ext cx="2615397" cy="194668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0" descr="Fehlende Ladungssicherung im Container">
            <a:extLst>
              <a:ext uri="{FF2B5EF4-FFF2-40B4-BE49-F238E27FC236}">
                <a16:creationId xmlns:a16="http://schemas.microsoft.com/office/drawing/2014/main" id="{6D899A52-E05E-4C0F-AE4D-D010AC614D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000" y="1435191"/>
            <a:ext cx="1691745" cy="2254267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1A1D3C6-319A-408D-8273-246E02167B0A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55331" y="4128797"/>
            <a:ext cx="2199343" cy="15740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6" name="Grafik 8">
            <a:extLst>
              <a:ext uri="{FF2B5EF4-FFF2-40B4-BE49-F238E27FC236}">
                <a16:creationId xmlns:a16="http://schemas.microsoft.com/office/drawing/2014/main" id="{B206B85B-A35C-400F-ACF5-8C46AF2A805D}"/>
              </a:ext>
            </a:extLst>
          </p:cNvPr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9877" y="1435192"/>
            <a:ext cx="2463550" cy="225426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6F4C3BF4-DE86-46C8-ABAA-2408A9FF5CA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561059" y="1435192"/>
            <a:ext cx="1963167" cy="261884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560A71EB-4E86-4B13-8984-A6C5C765BB5F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614588" y="1768307"/>
            <a:ext cx="2603580" cy="193735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E685E9F1-E8B4-410D-BCFA-508C45ED01B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539488" y="4552826"/>
            <a:ext cx="4380072" cy="117196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1" name="Text Box 15">
            <a:extLst>
              <a:ext uri="{FF2B5EF4-FFF2-40B4-BE49-F238E27FC236}">
                <a16:creationId xmlns:a16="http://schemas.microsoft.com/office/drawing/2014/main" id="{DF1AAA44-D170-4F42-8C2E-E90EBE62B1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88048" y="2150861"/>
            <a:ext cx="796925" cy="3770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nl-NL" sz="23900" b="1" dirty="0">
                <a:ln w="38100">
                  <a:solidFill>
                    <a:schemeClr val="bg1"/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</a:t>
            </a:r>
          </a:p>
        </p:txBody>
      </p:sp>
      <p:sp>
        <p:nvSpPr>
          <p:cNvPr id="32" name="Text Box 15">
            <a:extLst>
              <a:ext uri="{FF2B5EF4-FFF2-40B4-BE49-F238E27FC236}">
                <a16:creationId xmlns:a16="http://schemas.microsoft.com/office/drawing/2014/main" id="{E6537ADE-3F3E-45A3-A325-C2D1DFE4D8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56323" y="2034732"/>
            <a:ext cx="796925" cy="3770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nl-NL" sz="23900" b="1">
                <a:ln w="38100">
                  <a:solidFill>
                    <a:schemeClr val="bg1"/>
                  </a:solidFill>
                </a:ln>
                <a:solidFill>
                  <a:srgbClr val="18C212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</a:t>
            </a:r>
          </a:p>
        </p:txBody>
      </p:sp>
    </p:spTree>
    <p:extLst>
      <p:ext uri="{BB962C8B-B14F-4D97-AF65-F5344CB8AC3E}">
        <p14:creationId xmlns:p14="http://schemas.microsoft.com/office/powerpoint/2010/main" val="391176938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B1A38B3C-A784-4311-940F-20AA61DD1D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74083" y="3935834"/>
            <a:ext cx="1924352" cy="20937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3BEBD21-B209-4D74-AAB7-64BDEC3E139E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32884" y="1498999"/>
            <a:ext cx="2177826" cy="226260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5D7A43B8-E1AD-4ABB-AA66-E940A15B8CEC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0850" y="3935834"/>
            <a:ext cx="3041685" cy="20937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A53F64-9A5B-4C10-A48A-8A2F2A87CA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9" imgH="429" progId="TCLayout.ActiveDocument.1">
                  <p:embed/>
                </p:oleObj>
              </mc:Choice>
              <mc:Fallback>
                <p:oleObj name="think-cell Slide" r:id="rId6" imgW="429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9A53F64-9A5B-4C10-A48A-8A2F2A87C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82B619C-38F8-4772-83FA-33EF7D13A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4. Safe loading &amp; unlo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21DEB0-53F4-4A9F-A9A2-BBAE300104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8000" y="936876"/>
            <a:ext cx="10858761" cy="738664"/>
          </a:xfrm>
        </p:spPr>
        <p:txBody>
          <a:bodyPr/>
          <a:lstStyle/>
          <a:p>
            <a:r>
              <a:rPr lang="en-US"/>
              <a:t>Secure </a:t>
            </a:r>
            <a:r>
              <a:rPr lang="en-US">
                <a:latin typeface="Fira Sans" panose="020B0503050000020004" pitchFamily="34" charset="0"/>
                <a:ea typeface="Fira Sans" panose="020B0503050000020004" pitchFamily="34" charset="0"/>
              </a:rPr>
              <a:t>the truck against movement after final positioning</a:t>
            </a:r>
          </a:p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3AB280-8787-47A3-A885-366424D6B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smtClean="0"/>
              <a:pPr/>
              <a:t>22</a:t>
            </a:fld>
            <a:endParaRPr lang="en-US"/>
          </a:p>
        </p:txBody>
      </p:sp>
      <p:pic>
        <p:nvPicPr>
          <p:cNvPr id="18" name="Picture 5" descr="P5110004">
            <a:extLst>
              <a:ext uri="{FF2B5EF4-FFF2-40B4-BE49-F238E27FC236}">
                <a16:creationId xmlns:a16="http://schemas.microsoft.com/office/drawing/2014/main" id="{2AB2AEC3-C787-42F3-9852-EF0114C040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4600" y="3824857"/>
            <a:ext cx="2937048" cy="220472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4" descr="MVC-005F">
            <a:extLst>
              <a:ext uri="{FF2B5EF4-FFF2-40B4-BE49-F238E27FC236}">
                <a16:creationId xmlns:a16="http://schemas.microsoft.com/office/drawing/2014/main" id="{BB9655C8-E124-496D-9426-4DFF3A0938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7999" y="1475077"/>
            <a:ext cx="2932861" cy="2204725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Text Box 15">
            <a:extLst>
              <a:ext uri="{FF2B5EF4-FFF2-40B4-BE49-F238E27FC236}">
                <a16:creationId xmlns:a16="http://schemas.microsoft.com/office/drawing/2014/main" id="{DF1AAA44-D170-4F42-8C2E-E90EBE62B1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7911" y="2099243"/>
            <a:ext cx="796925" cy="3770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nl-NL" sz="23900" b="1">
                <a:ln w="38100">
                  <a:solidFill>
                    <a:schemeClr val="bg1"/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</a:t>
            </a:r>
          </a:p>
        </p:txBody>
      </p:sp>
      <p:pic>
        <p:nvPicPr>
          <p:cNvPr id="21" name="Picture 7" descr="Picture 371">
            <a:extLst>
              <a:ext uri="{FF2B5EF4-FFF2-40B4-BE49-F238E27FC236}">
                <a16:creationId xmlns:a16="http://schemas.microsoft.com/office/drawing/2014/main" id="{BC3A031B-CC38-4167-8B54-06D33A5D7F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8273" y="1498999"/>
            <a:ext cx="2891383" cy="2169689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69FF463A-E740-4CD2-A8E2-2B893DE1D84A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2385" y="1498999"/>
            <a:ext cx="1557224" cy="206387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357570F7-ED67-4E6F-9C9F-1335BEE3BE2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81227" y="3915606"/>
            <a:ext cx="2934327" cy="21229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5" name="Picture 31" descr="Lockout Trailer- Glad Hand Lock KDD477">
            <a:extLst>
              <a:ext uri="{FF2B5EF4-FFF2-40B4-BE49-F238E27FC236}">
                <a16:creationId xmlns:a16="http://schemas.microsoft.com/office/drawing/2014/main" id="{9553C1CB-64D5-4E9A-8998-09D1FF75EA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77981" y="1498999"/>
            <a:ext cx="1378425" cy="2063871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ext Box 15">
            <a:extLst>
              <a:ext uri="{FF2B5EF4-FFF2-40B4-BE49-F238E27FC236}">
                <a16:creationId xmlns:a16="http://schemas.microsoft.com/office/drawing/2014/main" id="{E6537ADE-3F3E-45A3-A325-C2D1DFE4D8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18358" y="1983114"/>
            <a:ext cx="796925" cy="3770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nl-NL" sz="23900" b="1">
                <a:ln w="38100">
                  <a:solidFill>
                    <a:schemeClr val="bg1"/>
                  </a:solidFill>
                </a:ln>
                <a:solidFill>
                  <a:srgbClr val="18C212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</a:t>
            </a:r>
          </a:p>
        </p:txBody>
      </p:sp>
    </p:spTree>
    <p:extLst>
      <p:ext uri="{BB962C8B-B14F-4D97-AF65-F5344CB8AC3E}">
        <p14:creationId xmlns:p14="http://schemas.microsoft.com/office/powerpoint/2010/main" val="204123899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6" name="Picture 4" descr="Pictograms Glasses M004">
            <a:extLst>
              <a:ext uri="{FF2B5EF4-FFF2-40B4-BE49-F238E27FC236}">
                <a16:creationId xmlns:a16="http://schemas.microsoft.com/office/drawing/2014/main" id="{EF640FA0-F812-4F87-A344-F4C4FF2E52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48758" y="1692729"/>
            <a:ext cx="1638163" cy="1638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A53F64-9A5B-4C10-A48A-8A2F2A87CA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9A53F64-9A5B-4C10-A48A-8A2F2A87C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82B619C-38F8-4772-83FA-33EF7D13A1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4. Safe loading &amp; unloading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421DEB0-53F4-4A9F-A9A2-BBAE300104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/>
              <a:t>Safety Requirements for truck driv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3AB280-8787-47A3-A885-366424D6B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6FBECC8-F6FB-4F09-A01B-7F358DC40728}"/>
              </a:ext>
            </a:extLst>
          </p:cNvPr>
          <p:cNvSpPr txBox="1">
            <a:spLocks noChangeArrowheads="1"/>
          </p:cNvSpPr>
          <p:nvPr/>
        </p:nvSpPr>
        <p:spPr>
          <a:xfrm>
            <a:off x="461962" y="1397000"/>
            <a:ext cx="7058121" cy="3940175"/>
          </a:xfrm>
          <a:prstGeom prst="rect">
            <a:avLst/>
          </a:prstGeom>
        </p:spPr>
        <p:txBody>
          <a:bodyPr/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en-US"/>
              <a:t>Suppliers ensure that truck drivers entering the site to deliver or pick-up goods:</a:t>
            </a:r>
          </a:p>
          <a:p>
            <a:r>
              <a:rPr lang="en-US" altLang="en-US"/>
              <a:t>Are capable of effectively communicating the SHE relevant aspects with site personnel in accepted language(s)</a:t>
            </a:r>
          </a:p>
          <a:p>
            <a:r>
              <a:rPr lang="en-US" altLang="en-US"/>
              <a:t>Are qualified to drive and transport the concerned goods</a:t>
            </a:r>
          </a:p>
          <a:p>
            <a:r>
              <a:rPr lang="en-US" altLang="en-US"/>
              <a:t>Comply with: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altLang="en-US"/>
              <a:t>Site traffic and Personal Protective Equipment (PPE) rul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altLang="en-US"/>
              <a:t>Relevant Life Saving Rules for drivers (drive safely, no drugs or alcohol, no smoking, observe working at heights requirements)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altLang="en-US"/>
              <a:t>Instructions to wait for authorized site personnel before opening sides/doors of containers, trailers or opening hatches of tank trucks and tank container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US" altLang="en-US"/>
              <a:t>Follow site instructions to open and secure the truck for (un)loading</a:t>
            </a:r>
          </a:p>
        </p:txBody>
      </p:sp>
      <p:pic>
        <p:nvPicPr>
          <p:cNvPr id="18" name="Picture 17" descr="A close up of a truck&#10;&#10;Description automatically generated">
            <a:extLst>
              <a:ext uri="{FF2B5EF4-FFF2-40B4-BE49-F238E27FC236}">
                <a16:creationId xmlns:a16="http://schemas.microsoft.com/office/drawing/2014/main" id="{1F29BEAF-44B4-4CC9-98DE-EDA478F86A9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10090" y="3572807"/>
            <a:ext cx="2339070" cy="1638164"/>
          </a:xfrm>
          <a:prstGeom prst="rect">
            <a:avLst/>
          </a:prstGeom>
        </p:spPr>
      </p:pic>
      <p:pic>
        <p:nvPicPr>
          <p:cNvPr id="19" name="Afbeelding 13">
            <a:extLst>
              <a:ext uri="{FF2B5EF4-FFF2-40B4-BE49-F238E27FC236}">
                <a16:creationId xmlns:a16="http://schemas.microsoft.com/office/drawing/2014/main" id="{514C20DD-C0CA-4887-96FC-C11F50DA88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256202" y="3809613"/>
            <a:ext cx="1185309" cy="1185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0148B8E9-BBC9-41FF-A7B7-1E4751DE3E2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56939" y="3589701"/>
            <a:ext cx="1179330" cy="155304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" name="Text Box 15">
            <a:extLst>
              <a:ext uri="{FF2B5EF4-FFF2-40B4-BE49-F238E27FC236}">
                <a16:creationId xmlns:a16="http://schemas.microsoft.com/office/drawing/2014/main" id="{3C3CEE60-752D-40BC-B5B0-DB812066AF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63595" y="3330892"/>
            <a:ext cx="285163" cy="2215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nl-NL" sz="13800" b="1">
                <a:ln w="38100">
                  <a:solidFill>
                    <a:schemeClr val="bg1"/>
                  </a:solidFill>
                </a:ln>
                <a:solidFill>
                  <a:srgbClr val="FF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</a:t>
            </a:r>
          </a:p>
        </p:txBody>
      </p:sp>
      <p:pic>
        <p:nvPicPr>
          <p:cNvPr id="23552" name="Picture 23551" descr="The inside of a building&#10;&#10;Description automatically generated">
            <a:extLst>
              <a:ext uri="{FF2B5EF4-FFF2-40B4-BE49-F238E27FC236}">
                <a16:creationId xmlns:a16="http://schemas.microsoft.com/office/drawing/2014/main" id="{A0D37303-BC1D-4A38-858A-35D0E029DE1F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3078" y="5335141"/>
            <a:ext cx="1754034" cy="131552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3E9E3A0-3C76-4FA5-8A7D-B902800C0377}"/>
              </a:ext>
            </a:extLst>
          </p:cNvPr>
          <p:cNvPicPr>
            <a:picLocks noChangeAspect="1"/>
          </p:cNvPicPr>
          <p:nvPr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1073" y="5335141"/>
            <a:ext cx="861816" cy="131552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67E24E0-4228-4D8B-A827-34F80AA59428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19954">
            <a:off x="7939664" y="445396"/>
            <a:ext cx="2189915" cy="308578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888252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1A240E-894C-4F08-A5D9-CC628572EB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1A240E-894C-4F08-A5D9-CC628572E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8E6EF11-4244-4FD6-B99F-A29DCC361A3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err="1">
              <a:solidFill>
                <a:schemeClr val="tx1"/>
              </a:solidFill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2D7C88-9F8E-4607-B42E-A0DBD50302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540000"/>
            <a:ext cx="9144000" cy="609398"/>
          </a:xfrm>
        </p:spPr>
        <p:txBody>
          <a:bodyPr/>
          <a:lstStyle/>
          <a:p>
            <a:r>
              <a:rPr lang="en-US"/>
              <a:t>5. Dangerous Goods Transpo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824DFE-2210-433E-B845-BD8E2BBB5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smtClean="0"/>
              <a:pPr/>
              <a:t>24</a:t>
            </a:fld>
            <a:endParaRPr lang="en-US"/>
          </a:p>
        </p:txBody>
      </p:sp>
      <p:pic>
        <p:nvPicPr>
          <p:cNvPr id="7" name="Picture 154">
            <a:extLst>
              <a:ext uri="{FF2B5EF4-FFF2-40B4-BE49-F238E27FC236}">
                <a16:creationId xmlns:a16="http://schemas.microsoft.com/office/drawing/2014/main" id="{796B99D5-CB64-4803-BA5A-14A4267B7F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56606" y="464830"/>
            <a:ext cx="1308660" cy="1308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11392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7A3AA2-F2E8-4904-9EF2-83991160374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3193182"/>
          </a:xfrm>
        </p:spPr>
        <p:txBody>
          <a:bodyPr/>
          <a:lstStyle/>
          <a:p>
            <a:r>
              <a:rPr lang="en-US"/>
              <a:t>Dangerous goods are substances, mixtures, articles, machinery…  presenting a risk for people, property or the environment</a:t>
            </a:r>
          </a:p>
          <a:p>
            <a:r>
              <a:rPr lang="en-US"/>
              <a:t>They are classified on the basis of </a:t>
            </a:r>
            <a:r>
              <a:rPr lang="en-US" u="sng"/>
              <a:t>immediate</a:t>
            </a:r>
            <a:r>
              <a:rPr lang="en-US"/>
              <a:t> physical or chemical effects.</a:t>
            </a:r>
          </a:p>
          <a:p>
            <a:r>
              <a:rPr lang="en-US" altLang="de-DE"/>
              <a:t>Dangerous goods include not only toxic or explosive chemicals, but also biological substances or everyday articles that we might not immediately consider to be dangerous.</a:t>
            </a:r>
            <a:endParaRPr lang="en-US"/>
          </a:p>
          <a:p>
            <a:endParaRPr lang="de-CH"/>
          </a:p>
        </p:txBody>
      </p:sp>
      <p:pic>
        <p:nvPicPr>
          <p:cNvPr id="12" name="Picture Placeholder 11" descr="A picture containing outdoor, truck, sitting, bed&#10;&#10;Description automatically generated">
            <a:extLst>
              <a:ext uri="{FF2B5EF4-FFF2-40B4-BE49-F238E27FC236}">
                <a16:creationId xmlns:a16="http://schemas.microsoft.com/office/drawing/2014/main" id="{92349FD4-7FE8-48A0-971D-673B3C90D94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696460" y="1"/>
            <a:ext cx="4495540" cy="6858000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6FD502E-6A2B-4EB1-B054-9BD35CC4E4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Regulations</a:t>
            </a:r>
            <a:endParaRPr lang="de-CH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A959D1-C2A5-4819-8AD0-F2DDA38C02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8000" y="936876"/>
            <a:ext cx="7679222" cy="738664"/>
          </a:xfrm>
        </p:spPr>
        <p:txBody>
          <a:bodyPr/>
          <a:lstStyle/>
          <a:p>
            <a:r>
              <a:rPr lang="de-CH" err="1"/>
              <a:t>Dangerous</a:t>
            </a:r>
            <a:r>
              <a:rPr lang="de-CH"/>
              <a:t> </a:t>
            </a:r>
            <a:r>
              <a:rPr lang="de-CH" err="1"/>
              <a:t>Goods</a:t>
            </a:r>
            <a:r>
              <a:rPr lang="de-CH"/>
              <a:t> (DG) / </a:t>
            </a:r>
            <a:r>
              <a:rPr lang="de-CH" err="1"/>
              <a:t>Hazardous</a:t>
            </a:r>
            <a:r>
              <a:rPr lang="de-CH"/>
              <a:t> Materials (</a:t>
            </a:r>
            <a:r>
              <a:rPr lang="de-CH" err="1"/>
              <a:t>Hazmat</a:t>
            </a:r>
            <a:r>
              <a:rPr lang="de-CH"/>
              <a:t>)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DF760A-9A0D-45BF-BB2E-E81C58B6D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noProof="0" smtClean="0"/>
              <a:pPr/>
              <a:t>25</a:t>
            </a:fld>
            <a:endParaRPr lang="en-US" noProof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3F1133B-D87F-4708-BBE7-2473ED03D206}"/>
              </a:ext>
            </a:extLst>
          </p:cNvPr>
          <p:cNvGrpSpPr/>
          <p:nvPr/>
        </p:nvGrpSpPr>
        <p:grpSpPr>
          <a:xfrm>
            <a:off x="472612" y="4763227"/>
            <a:ext cx="6500754" cy="1438335"/>
            <a:chOff x="533303" y="3321869"/>
            <a:chExt cx="6500754" cy="1438335"/>
          </a:xfrm>
        </p:grpSpPr>
        <p:pic>
          <p:nvPicPr>
            <p:cNvPr id="8" name="Picture 8">
              <a:extLst>
                <a:ext uri="{FF2B5EF4-FFF2-40B4-BE49-F238E27FC236}">
                  <a16:creationId xmlns:a16="http://schemas.microsoft.com/office/drawing/2014/main" id="{9C45D7FC-3639-468B-A1B5-95A3310EF9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94191" y="3554273"/>
              <a:ext cx="1205931" cy="12059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7" name="Picture 7">
              <a:extLst>
                <a:ext uri="{FF2B5EF4-FFF2-40B4-BE49-F238E27FC236}">
                  <a16:creationId xmlns:a16="http://schemas.microsoft.com/office/drawing/2014/main" id="{B92BFABE-3E4D-44C0-A867-C276ED4853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3303" y="3441928"/>
              <a:ext cx="1134198" cy="11341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9" name="Picture 9">
              <a:extLst>
                <a:ext uri="{FF2B5EF4-FFF2-40B4-BE49-F238E27FC236}">
                  <a16:creationId xmlns:a16="http://schemas.microsoft.com/office/drawing/2014/main" id="{54BD1C54-538F-4EF6-961C-F122D67E3C8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5715" y="3321869"/>
              <a:ext cx="1134198" cy="11341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0" name="Picture 10">
              <a:extLst>
                <a:ext uri="{FF2B5EF4-FFF2-40B4-BE49-F238E27FC236}">
                  <a16:creationId xmlns:a16="http://schemas.microsoft.com/office/drawing/2014/main" id="{AAA937F7-A959-4D70-9EBB-0CFFA68627A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hq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28126" y="3370195"/>
              <a:ext cx="1205931" cy="120593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044AFD09-3312-4C6D-B641-FA44D7A5C47C}"/>
              </a:ext>
            </a:extLst>
          </p:cNvPr>
          <p:cNvSpPr txBox="1"/>
          <p:nvPr/>
        </p:nvSpPr>
        <p:spPr>
          <a:xfrm>
            <a:off x="9127339" y="1675540"/>
            <a:ext cx="16337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CH">
                <a:solidFill>
                  <a:schemeClr val="bg1"/>
                </a:solidFill>
              </a:rPr>
              <a:t>UN 1327 </a:t>
            </a:r>
            <a:r>
              <a:rPr lang="de-CH" err="1">
                <a:solidFill>
                  <a:schemeClr val="bg1"/>
                </a:solidFill>
              </a:rPr>
              <a:t>Straw</a:t>
            </a:r>
            <a:endParaRPr lang="de-CH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87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461F05-5CC3-44B6-B966-C8F4E419A7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angerous Goods Regulations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1DFC139-D553-4717-A5BB-19FE9FFB723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480900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de-CH"/>
              <a:t>Class 1:	Explosives					(</a:t>
            </a:r>
            <a:r>
              <a:rPr lang="zh-CN" altLang="de-DE"/>
              <a:t>易爆品</a:t>
            </a:r>
            <a:r>
              <a:rPr lang="de-DE" altLang="zh-CN"/>
              <a:t>)</a:t>
            </a:r>
          </a:p>
          <a:p>
            <a:pPr>
              <a:lnSpc>
                <a:spcPct val="150000"/>
              </a:lnSpc>
            </a:pPr>
            <a:r>
              <a:rPr lang="de-DE" altLang="zh-CN"/>
              <a:t>Class 2:	</a:t>
            </a:r>
            <a:r>
              <a:rPr lang="de-CH"/>
              <a:t>Gases						(</a:t>
            </a:r>
            <a:r>
              <a:rPr lang="zh-CN" altLang="de-DE"/>
              <a:t>易燃气体</a:t>
            </a:r>
            <a:r>
              <a:rPr lang="de-DE" altLang="zh-CN"/>
              <a:t>)</a:t>
            </a:r>
          </a:p>
          <a:p>
            <a:pPr>
              <a:lnSpc>
                <a:spcPct val="150000"/>
              </a:lnSpc>
            </a:pPr>
            <a:r>
              <a:rPr lang="de-DE" altLang="zh-CN"/>
              <a:t>Class 3:	</a:t>
            </a:r>
            <a:r>
              <a:rPr lang="de-CH" err="1"/>
              <a:t>Flammable</a:t>
            </a:r>
            <a:r>
              <a:rPr lang="de-CH"/>
              <a:t> </a:t>
            </a:r>
            <a:r>
              <a:rPr lang="de-CH" err="1"/>
              <a:t>Liquids</a:t>
            </a:r>
            <a:r>
              <a:rPr lang="de-CH"/>
              <a:t>				(</a:t>
            </a:r>
            <a:r>
              <a:rPr lang="zh-CN" altLang="de-DE"/>
              <a:t>易燃液体</a:t>
            </a:r>
            <a:r>
              <a:rPr lang="de-DE" altLang="zh-CN"/>
              <a:t>)</a:t>
            </a:r>
          </a:p>
          <a:p>
            <a:pPr>
              <a:lnSpc>
                <a:spcPct val="150000"/>
              </a:lnSpc>
            </a:pPr>
            <a:r>
              <a:rPr lang="de-DE" altLang="zh-CN"/>
              <a:t>Class 4:	</a:t>
            </a:r>
            <a:r>
              <a:rPr lang="de-CH" err="1"/>
              <a:t>Flamable</a:t>
            </a:r>
            <a:r>
              <a:rPr lang="de-CH"/>
              <a:t> </a:t>
            </a:r>
            <a:r>
              <a:rPr lang="de-CH" err="1"/>
              <a:t>solids</a:t>
            </a:r>
            <a:r>
              <a:rPr lang="de-CH"/>
              <a:t> 				(</a:t>
            </a:r>
            <a:r>
              <a:rPr lang="zh-CN" altLang="de-DE"/>
              <a:t>其他易燃</a:t>
            </a:r>
            <a:r>
              <a:rPr lang="de-DE" altLang="zh-CN"/>
              <a:t>)</a:t>
            </a:r>
          </a:p>
          <a:p>
            <a:pPr>
              <a:lnSpc>
                <a:spcPct val="150000"/>
              </a:lnSpc>
            </a:pPr>
            <a:r>
              <a:rPr lang="de-DE" altLang="zh-CN"/>
              <a:t>Class 5:	</a:t>
            </a:r>
            <a:r>
              <a:rPr lang="de-CH" err="1"/>
              <a:t>Oxidizing</a:t>
            </a:r>
            <a:r>
              <a:rPr lang="de-CH"/>
              <a:t> </a:t>
            </a:r>
            <a:r>
              <a:rPr lang="de-CH" err="1"/>
              <a:t>substances</a:t>
            </a:r>
            <a:r>
              <a:rPr lang="de-CH"/>
              <a:t> and </a:t>
            </a:r>
            <a:r>
              <a:rPr lang="de-CH" err="1"/>
              <a:t>Organic</a:t>
            </a:r>
            <a:r>
              <a:rPr lang="de-CH"/>
              <a:t> </a:t>
            </a:r>
            <a:r>
              <a:rPr lang="de-CH" err="1"/>
              <a:t>Peroxides</a:t>
            </a:r>
            <a:r>
              <a:rPr lang="de-CH"/>
              <a:t> 	(</a:t>
            </a:r>
            <a:r>
              <a:rPr lang="zh-CN" altLang="de-DE"/>
              <a:t>氧化物及有机过氧化物</a:t>
            </a:r>
            <a:r>
              <a:rPr lang="de-DE" altLang="zh-CN"/>
              <a:t>)</a:t>
            </a:r>
          </a:p>
          <a:p>
            <a:pPr>
              <a:lnSpc>
                <a:spcPct val="150000"/>
              </a:lnSpc>
            </a:pPr>
            <a:r>
              <a:rPr lang="de-DE" altLang="zh-CN"/>
              <a:t>Class 6:	</a:t>
            </a:r>
            <a:r>
              <a:rPr lang="de-CH" err="1"/>
              <a:t>Toxics</a:t>
            </a:r>
            <a:r>
              <a:rPr lang="de-CH"/>
              <a:t> / </a:t>
            </a:r>
            <a:r>
              <a:rPr lang="de-CH" err="1"/>
              <a:t>Infectious</a:t>
            </a:r>
            <a:r>
              <a:rPr lang="de-CH"/>
              <a:t> </a:t>
            </a:r>
            <a:r>
              <a:rPr lang="de-CH" err="1"/>
              <a:t>Substances</a:t>
            </a:r>
            <a:r>
              <a:rPr lang="de-CH"/>
              <a:t>			(</a:t>
            </a:r>
            <a:r>
              <a:rPr lang="zh-CN" altLang="de-DE"/>
              <a:t>有毒</a:t>
            </a:r>
            <a:r>
              <a:rPr lang="de-DE" altLang="zh-CN"/>
              <a:t>/</a:t>
            </a:r>
            <a:r>
              <a:rPr lang="zh-CN" altLang="de-DE"/>
              <a:t>感染物</a:t>
            </a:r>
            <a:r>
              <a:rPr lang="de-DE" altLang="zh-CN"/>
              <a:t>)</a:t>
            </a:r>
          </a:p>
          <a:p>
            <a:pPr>
              <a:lnSpc>
                <a:spcPct val="150000"/>
              </a:lnSpc>
            </a:pPr>
            <a:r>
              <a:rPr lang="de-DE" altLang="zh-CN"/>
              <a:t>Class 7:	</a:t>
            </a:r>
            <a:r>
              <a:rPr lang="de-CH" err="1"/>
              <a:t>Radioactive</a:t>
            </a:r>
            <a:r>
              <a:rPr lang="de-CH"/>
              <a:t> Material				(</a:t>
            </a:r>
            <a:r>
              <a:rPr lang="zh-CN" altLang="de-DE"/>
              <a:t>放射物</a:t>
            </a:r>
            <a:r>
              <a:rPr lang="de-DE" altLang="zh-CN"/>
              <a:t>)</a:t>
            </a:r>
          </a:p>
          <a:p>
            <a:pPr>
              <a:lnSpc>
                <a:spcPct val="150000"/>
              </a:lnSpc>
            </a:pPr>
            <a:r>
              <a:rPr lang="de-DE" altLang="zh-CN"/>
              <a:t>Class 8:	</a:t>
            </a:r>
            <a:r>
              <a:rPr lang="de-CH" err="1"/>
              <a:t>Corrosive</a:t>
            </a:r>
            <a:r>
              <a:rPr lang="de-CH"/>
              <a:t> </a:t>
            </a:r>
            <a:r>
              <a:rPr lang="de-CH" err="1"/>
              <a:t>Substances</a:t>
            </a:r>
            <a:r>
              <a:rPr lang="de-CH"/>
              <a:t>				(</a:t>
            </a:r>
            <a:r>
              <a:rPr lang="zh-CN" altLang="de-DE"/>
              <a:t>腐蚀物</a:t>
            </a:r>
            <a:r>
              <a:rPr lang="de-DE" altLang="zh-CN"/>
              <a:t>)</a:t>
            </a:r>
          </a:p>
          <a:p>
            <a:pPr>
              <a:lnSpc>
                <a:spcPct val="150000"/>
              </a:lnSpc>
            </a:pPr>
            <a:r>
              <a:rPr lang="de-DE" altLang="zh-CN"/>
              <a:t>Class 9:	</a:t>
            </a:r>
            <a:r>
              <a:rPr lang="de-CH" err="1"/>
              <a:t>Miscellaneous</a:t>
            </a:r>
            <a:r>
              <a:rPr lang="de-CH"/>
              <a:t>					(</a:t>
            </a:r>
            <a:r>
              <a:rPr lang="zh-CN" altLang="de-DE"/>
              <a:t>杂项</a:t>
            </a:r>
            <a:r>
              <a:rPr lang="de-DE" altLang="zh-CN"/>
              <a:t>)</a:t>
            </a:r>
          </a:p>
          <a:p>
            <a:endParaRPr lang="de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52935B-EC4F-4645-86EB-3541A64016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err="1"/>
              <a:t>Classification</a:t>
            </a:r>
            <a:r>
              <a:rPr lang="de-CH"/>
              <a:t> – </a:t>
            </a:r>
            <a:r>
              <a:rPr lang="de-CH" err="1"/>
              <a:t>Classes</a:t>
            </a:r>
            <a:r>
              <a:rPr lang="de-CH"/>
              <a:t>, </a:t>
            </a:r>
            <a:r>
              <a:rPr lang="de-CH" err="1"/>
              <a:t>Divisions</a:t>
            </a:r>
            <a:r>
              <a:rPr lang="de-CH"/>
              <a:t>, </a:t>
            </a:r>
            <a:r>
              <a:rPr lang="de-CH" err="1"/>
              <a:t>Packing</a:t>
            </a:r>
            <a:r>
              <a:rPr lang="de-CH"/>
              <a:t> Group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B57137-E405-4B0E-AFD4-913A3C9D4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noProof="0" smtClean="0"/>
              <a:pPr/>
              <a:t>26</a:t>
            </a:fld>
            <a:endParaRPr lang="en-US" noProof="0"/>
          </a:p>
        </p:txBody>
      </p:sp>
      <p:pic>
        <p:nvPicPr>
          <p:cNvPr id="6" name="Picture 6" descr="100-10-0">
            <a:extLst>
              <a:ext uri="{FF2B5EF4-FFF2-40B4-BE49-F238E27FC236}">
                <a16:creationId xmlns:a16="http://schemas.microsoft.com/office/drawing/2014/main" id="{5AC73F6B-835A-422B-A59B-03A9C9A9B1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30457" y="1405215"/>
            <a:ext cx="764702" cy="764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Object 8">
            <a:extLst>
              <a:ext uri="{FF2B5EF4-FFF2-40B4-BE49-F238E27FC236}">
                <a16:creationId xmlns:a16="http://schemas.microsoft.com/office/drawing/2014/main" id="{FDF8CD78-8260-44FE-98F3-0770484C2C90}"/>
              </a:ext>
            </a:extLst>
          </p:cNvPr>
          <p:cNvGraphicFramePr>
            <a:graphicFrameLocks/>
          </p:cNvGraphicFramePr>
          <p:nvPr/>
        </p:nvGraphicFramePr>
        <p:xfrm>
          <a:off x="9443855" y="600909"/>
          <a:ext cx="812800" cy="746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hoto Editor Photo" r:id="rId4" imgW="1644480" imgH="1644480" progId="MSPhotoEd.3">
                  <p:embed/>
                </p:oleObj>
              </mc:Choice>
              <mc:Fallback>
                <p:oleObj name="Photo Editor Photo" r:id="rId4" imgW="1644480" imgH="1644480" progId="MSPhotoEd.3">
                  <p:embed/>
                  <p:pic>
                    <p:nvPicPr>
                      <p:cNvPr id="8" name="Object 8">
                        <a:extLst>
                          <a:ext uri="{FF2B5EF4-FFF2-40B4-BE49-F238E27FC236}">
                            <a16:creationId xmlns:a16="http://schemas.microsoft.com/office/drawing/2014/main" id="{FDF8CD78-8260-44FE-98F3-0770484C2C9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443855" y="600909"/>
                        <a:ext cx="812800" cy="7461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ct 9">
            <a:extLst>
              <a:ext uri="{FF2B5EF4-FFF2-40B4-BE49-F238E27FC236}">
                <a16:creationId xmlns:a16="http://schemas.microsoft.com/office/drawing/2014/main" id="{6979B53E-8840-47ED-85EF-A0911E07F117}"/>
              </a:ext>
            </a:extLst>
          </p:cNvPr>
          <p:cNvGraphicFramePr>
            <a:graphicFrameLocks/>
          </p:cNvGraphicFramePr>
          <p:nvPr/>
        </p:nvGraphicFramePr>
        <p:xfrm>
          <a:off x="8216718" y="999372"/>
          <a:ext cx="744538" cy="7445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hoto Editor Photo" r:id="rId6" imgW="1568160" imgH="1460160" progId="MSPhotoEd.3">
                  <p:embed/>
                </p:oleObj>
              </mc:Choice>
              <mc:Fallback>
                <p:oleObj name="Photo Editor Photo" r:id="rId6" imgW="1568160" imgH="1460160" progId="MSPhotoEd.3">
                  <p:embed/>
                  <p:pic>
                    <p:nvPicPr>
                      <p:cNvPr id="9" name="Object 9">
                        <a:extLst>
                          <a:ext uri="{FF2B5EF4-FFF2-40B4-BE49-F238E27FC236}">
                            <a16:creationId xmlns:a16="http://schemas.microsoft.com/office/drawing/2014/main" id="{6979B53E-8840-47ED-85EF-A0911E07F117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216718" y="999372"/>
                        <a:ext cx="744538" cy="7445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ct 10">
            <a:extLst>
              <a:ext uri="{FF2B5EF4-FFF2-40B4-BE49-F238E27FC236}">
                <a16:creationId xmlns:a16="http://schemas.microsoft.com/office/drawing/2014/main" id="{9EEAA60C-B450-45C8-AEB9-B59691F53360}"/>
              </a:ext>
            </a:extLst>
          </p:cNvPr>
          <p:cNvGraphicFramePr>
            <a:graphicFrameLocks/>
          </p:cNvGraphicFramePr>
          <p:nvPr/>
        </p:nvGraphicFramePr>
        <p:xfrm>
          <a:off x="9842318" y="1540709"/>
          <a:ext cx="814388" cy="812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hoto Editor Photo" r:id="rId8" imgW="1612800" imgH="1631880" progId="MSPhotoEd.3">
                  <p:embed/>
                </p:oleObj>
              </mc:Choice>
              <mc:Fallback>
                <p:oleObj name="Photo Editor Photo" r:id="rId8" imgW="1612800" imgH="1631880" progId="MSPhotoEd.3">
                  <p:embed/>
                  <p:pic>
                    <p:nvPicPr>
                      <p:cNvPr id="10" name="Object 10">
                        <a:extLst>
                          <a:ext uri="{FF2B5EF4-FFF2-40B4-BE49-F238E27FC236}">
                            <a16:creationId xmlns:a16="http://schemas.microsoft.com/office/drawing/2014/main" id="{9EEAA60C-B450-45C8-AEB9-B59691F53360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842318" y="1540709"/>
                        <a:ext cx="814388" cy="812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11">
            <a:extLst>
              <a:ext uri="{FF2B5EF4-FFF2-40B4-BE49-F238E27FC236}">
                <a16:creationId xmlns:a16="http://schemas.microsoft.com/office/drawing/2014/main" id="{AC8110F7-C2CB-4F08-A5EA-6C3EF97962DA}"/>
              </a:ext>
            </a:extLst>
          </p:cNvPr>
          <p:cNvGraphicFramePr>
            <a:graphicFrameLocks/>
          </p:cNvGraphicFramePr>
          <p:nvPr/>
        </p:nvGraphicFramePr>
        <p:xfrm>
          <a:off x="10745347" y="2494987"/>
          <a:ext cx="812800" cy="812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hoto Editor Photo" r:id="rId10" imgW="1492200" imgH="1492200" progId="MSPhotoEd.3">
                  <p:embed/>
                </p:oleObj>
              </mc:Choice>
              <mc:Fallback>
                <p:oleObj name="Photo Editor Photo" r:id="rId10" imgW="1492200" imgH="1492200" progId="MSPhotoEd.3">
                  <p:embed/>
                  <p:pic>
                    <p:nvPicPr>
                      <p:cNvPr id="11" name="Object 11">
                        <a:extLst>
                          <a:ext uri="{FF2B5EF4-FFF2-40B4-BE49-F238E27FC236}">
                            <a16:creationId xmlns:a16="http://schemas.microsoft.com/office/drawing/2014/main" id="{AC8110F7-C2CB-4F08-A5EA-6C3EF97962DA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745347" y="2494987"/>
                        <a:ext cx="812800" cy="812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ct 12">
            <a:extLst>
              <a:ext uri="{FF2B5EF4-FFF2-40B4-BE49-F238E27FC236}">
                <a16:creationId xmlns:a16="http://schemas.microsoft.com/office/drawing/2014/main" id="{9F733100-19B8-4D56-8415-094783C621E3}"/>
              </a:ext>
            </a:extLst>
          </p:cNvPr>
          <p:cNvGraphicFramePr>
            <a:graphicFrameLocks/>
          </p:cNvGraphicFramePr>
          <p:nvPr/>
        </p:nvGraphicFramePr>
        <p:xfrm>
          <a:off x="6407912" y="4942550"/>
          <a:ext cx="881063" cy="812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hoto Editor Photo" r:id="rId12" imgW="1644480" imgH="1644480" progId="MSPhotoEd.3">
                  <p:embed/>
                </p:oleObj>
              </mc:Choice>
              <mc:Fallback>
                <p:oleObj name="Photo Editor Photo" r:id="rId12" imgW="1644480" imgH="1644480" progId="MSPhotoEd.3">
                  <p:embed/>
                  <p:pic>
                    <p:nvPicPr>
                      <p:cNvPr id="12" name="Object 12">
                        <a:extLst>
                          <a:ext uri="{FF2B5EF4-FFF2-40B4-BE49-F238E27FC236}">
                            <a16:creationId xmlns:a16="http://schemas.microsoft.com/office/drawing/2014/main" id="{9F733100-19B8-4D56-8415-094783C621E3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07912" y="4942550"/>
                        <a:ext cx="881063" cy="812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ct 13">
            <a:extLst>
              <a:ext uri="{FF2B5EF4-FFF2-40B4-BE49-F238E27FC236}">
                <a16:creationId xmlns:a16="http://schemas.microsoft.com/office/drawing/2014/main" id="{DDE4D51B-49F7-423E-93C9-442361B39C27}"/>
              </a:ext>
            </a:extLst>
          </p:cNvPr>
          <p:cNvGraphicFramePr>
            <a:graphicFrameLocks/>
          </p:cNvGraphicFramePr>
          <p:nvPr/>
        </p:nvGraphicFramePr>
        <p:xfrm>
          <a:off x="6183130" y="2455857"/>
          <a:ext cx="812800" cy="812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hoto Editor Photo" r:id="rId14" imgW="1523880" imgH="1523880" progId="MSPhotoEd.3">
                  <p:embed/>
                </p:oleObj>
              </mc:Choice>
              <mc:Fallback>
                <p:oleObj name="Photo Editor Photo" r:id="rId14" imgW="1523880" imgH="1523880" progId="MSPhotoEd.3">
                  <p:embed/>
                  <p:pic>
                    <p:nvPicPr>
                      <p:cNvPr id="13" name="Object 13">
                        <a:extLst>
                          <a:ext uri="{FF2B5EF4-FFF2-40B4-BE49-F238E27FC236}">
                            <a16:creationId xmlns:a16="http://schemas.microsoft.com/office/drawing/2014/main" id="{DDE4D51B-49F7-423E-93C9-442361B39C27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183130" y="2455857"/>
                        <a:ext cx="812800" cy="8128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ct 14">
            <a:extLst>
              <a:ext uri="{FF2B5EF4-FFF2-40B4-BE49-F238E27FC236}">
                <a16:creationId xmlns:a16="http://schemas.microsoft.com/office/drawing/2014/main" id="{369EF9B2-8A9A-461B-8284-8FCF4892CE0F}"/>
              </a:ext>
            </a:extLst>
          </p:cNvPr>
          <p:cNvGraphicFramePr>
            <a:graphicFrameLocks/>
          </p:cNvGraphicFramePr>
          <p:nvPr/>
        </p:nvGraphicFramePr>
        <p:xfrm>
          <a:off x="10149864" y="4772301"/>
          <a:ext cx="881063" cy="881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hoto Editor Photo" r:id="rId16" imgW="2025360" imgH="2025360" progId="MSPhotoEd.3">
                  <p:embed/>
                </p:oleObj>
              </mc:Choice>
              <mc:Fallback>
                <p:oleObj name="Photo Editor Photo" r:id="rId16" imgW="2025360" imgH="2025360" progId="MSPhotoEd.3">
                  <p:embed/>
                  <p:pic>
                    <p:nvPicPr>
                      <p:cNvPr id="14" name="Object 14">
                        <a:extLst>
                          <a:ext uri="{FF2B5EF4-FFF2-40B4-BE49-F238E27FC236}">
                            <a16:creationId xmlns:a16="http://schemas.microsoft.com/office/drawing/2014/main" id="{369EF9B2-8A9A-461B-8284-8FCF4892CE0F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149864" y="4772301"/>
                        <a:ext cx="881063" cy="881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5619097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F7BFBBA9-901B-4618-84AD-F4986D38EBA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54746" y="1800225"/>
            <a:ext cx="3908954" cy="307777"/>
          </a:xfrm>
        </p:spPr>
        <p:txBody>
          <a:bodyPr/>
          <a:lstStyle/>
          <a:p>
            <a:r>
              <a:rPr lang="en-US" altLang="de-DE">
                <a:solidFill>
                  <a:srgbClr val="333399"/>
                </a:solidFill>
              </a:rPr>
              <a:t>Safety Data Sheet – Section 14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52935B-EC4F-4645-86EB-3541A64016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err="1"/>
              <a:t>Classification</a:t>
            </a:r>
            <a:r>
              <a:rPr lang="de-CH"/>
              <a:t> – </a:t>
            </a:r>
            <a:r>
              <a:rPr lang="de-CH" err="1"/>
              <a:t>Classes</a:t>
            </a:r>
            <a:r>
              <a:rPr lang="de-CH"/>
              <a:t>, </a:t>
            </a:r>
            <a:r>
              <a:rPr lang="de-CH" err="1"/>
              <a:t>Divisions</a:t>
            </a:r>
            <a:r>
              <a:rPr lang="de-CH"/>
              <a:t>, </a:t>
            </a:r>
            <a:r>
              <a:rPr lang="de-CH" err="1"/>
              <a:t>Packing</a:t>
            </a:r>
            <a:r>
              <a:rPr lang="de-CH"/>
              <a:t> Group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461F05-5CC3-44B6-B966-C8F4E419A7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Dangerous</a:t>
            </a:r>
            <a:r>
              <a:rPr lang="de-CH"/>
              <a:t> </a:t>
            </a:r>
            <a:r>
              <a:rPr lang="de-CH" err="1"/>
              <a:t>Goods</a:t>
            </a:r>
            <a:r>
              <a:rPr lang="de-CH"/>
              <a:t> </a:t>
            </a:r>
            <a:r>
              <a:rPr lang="de-CH" err="1"/>
              <a:t>Regulations</a:t>
            </a:r>
            <a:r>
              <a:rPr lang="de-CH"/>
              <a:t>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5B57137-E405-4B0E-AFD4-913A3C9D4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noProof="0" smtClean="0"/>
              <a:pPr/>
              <a:t>27</a:t>
            </a:fld>
            <a:endParaRPr lang="en-US" noProof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40841997-7C08-49C6-81FF-E994E90E59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6762" y="2315400"/>
            <a:ext cx="4989278" cy="2949327"/>
          </a:xfrm>
          <a:prstGeom prst="rect">
            <a:avLst/>
          </a:prstGeom>
        </p:spPr>
      </p:pic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589F493D-9DEA-4865-82B3-8D65BA765B30}"/>
              </a:ext>
            </a:extLst>
          </p:cNvPr>
          <p:cNvSpPr txBox="1">
            <a:spLocks/>
          </p:cNvSpPr>
          <p:nvPr/>
        </p:nvSpPr>
        <p:spPr>
          <a:xfrm>
            <a:off x="468314" y="1800227"/>
            <a:ext cx="5009620" cy="268535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altLang="de-DE" dirty="0">
                <a:solidFill>
                  <a:srgbClr val="333399"/>
                </a:solidFill>
              </a:rPr>
              <a:t>Identification</a:t>
            </a:r>
          </a:p>
          <a:p>
            <a:pPr marL="271463" indent="0">
              <a:spcAft>
                <a:spcPts val="600"/>
              </a:spcAft>
              <a:buNone/>
            </a:pPr>
            <a:r>
              <a:rPr lang="en-US" altLang="de-DE" sz="2000" dirty="0"/>
              <a:t>Dangerous Goods are uniquely identified by two pieces of information: </a:t>
            </a:r>
          </a:p>
          <a:p>
            <a:pPr marL="449263" lvl="3"/>
            <a:r>
              <a:rPr lang="en-US" altLang="de-DE" dirty="0"/>
              <a:t>the four-digit </a:t>
            </a:r>
            <a:r>
              <a:rPr lang="en-US" altLang="de-DE" b="1" dirty="0"/>
              <a:t>UN Number </a:t>
            </a:r>
          </a:p>
          <a:p>
            <a:pPr marL="449263" lvl="3">
              <a:spcAft>
                <a:spcPts val="600"/>
              </a:spcAft>
            </a:pPr>
            <a:r>
              <a:rPr lang="en-US" altLang="de-DE" dirty="0"/>
              <a:t>the corresponding </a:t>
            </a:r>
            <a:r>
              <a:rPr lang="en-US" altLang="de-DE" b="1" dirty="0"/>
              <a:t>Proper Shipping Name </a:t>
            </a:r>
          </a:p>
          <a:p>
            <a:pPr marL="449263" lvl="8" indent="0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altLang="de-DE" b="1" dirty="0"/>
              <a:t>	</a:t>
            </a:r>
            <a:r>
              <a:rPr lang="en-US" altLang="de-DE" dirty="0"/>
              <a:t>e.g.  UN 1170 Ethanol </a:t>
            </a:r>
            <a:br>
              <a:rPr lang="en-US" altLang="de-DE" dirty="0"/>
            </a:br>
            <a:r>
              <a:rPr lang="en-US" altLang="de-DE" dirty="0"/>
              <a:t>	        </a:t>
            </a:r>
            <a:r>
              <a:rPr lang="fr-FR" dirty="0"/>
              <a:t>UN 1993 </a:t>
            </a:r>
            <a:r>
              <a:rPr lang="fr-FR" dirty="0" err="1"/>
              <a:t>Flammable</a:t>
            </a:r>
            <a:r>
              <a:rPr lang="fr-FR" dirty="0"/>
              <a:t> </a:t>
            </a:r>
            <a:r>
              <a:rPr lang="fr-FR" dirty="0" err="1"/>
              <a:t>liquid</a:t>
            </a:r>
            <a:r>
              <a:rPr lang="fr-FR" dirty="0"/>
              <a:t>, n.o.s.*</a:t>
            </a:r>
            <a:endParaRPr lang="en-US" altLang="de-DE" b="1" dirty="0"/>
          </a:p>
          <a:p>
            <a:pPr marL="0" indent="0">
              <a:spcAft>
                <a:spcPts val="600"/>
              </a:spcAft>
              <a:buNone/>
            </a:pPr>
            <a:endParaRPr lang="en-US" altLang="de-DE" b="1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0A6469D-17D9-4C97-AC49-131917C24E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4746" y="2205333"/>
            <a:ext cx="5457825" cy="34480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C676D5D9-1681-43CA-9092-C573D78F582F}"/>
              </a:ext>
            </a:extLst>
          </p:cNvPr>
          <p:cNvSpPr/>
          <p:nvPr/>
        </p:nvSpPr>
        <p:spPr>
          <a:xfrm>
            <a:off x="408734" y="4518200"/>
            <a:ext cx="5399481" cy="13619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2000" lvl="0" indent="-25200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de-DE" sz="2000" dirty="0">
                <a:solidFill>
                  <a:srgbClr val="333399"/>
                </a:solidFill>
              </a:rPr>
              <a:t>Packing Groups:</a:t>
            </a:r>
          </a:p>
          <a:p>
            <a:pPr marL="804863" lvl="2" indent="-266700">
              <a:spcAft>
                <a:spcPts val="300"/>
              </a:spcAft>
              <a:buClr>
                <a:srgbClr val="000000"/>
              </a:buClr>
              <a:buFont typeface="Arial" panose="020B0604020202020204" pitchFamily="34" charset="0"/>
              <a:buChar char="–"/>
            </a:pPr>
            <a:r>
              <a:rPr lang="en-US" altLang="de-DE" sz="2000" dirty="0">
                <a:solidFill>
                  <a:srgbClr val="000000"/>
                </a:solidFill>
              </a:rPr>
              <a:t>the degree of danger is given by so-called Packing Groups</a:t>
            </a:r>
            <a:br>
              <a:rPr lang="en-US" altLang="de-DE" sz="2000" dirty="0">
                <a:solidFill>
                  <a:srgbClr val="000000"/>
                </a:solidFill>
              </a:rPr>
            </a:br>
            <a:r>
              <a:rPr lang="en-US" altLang="de-DE" sz="2000" dirty="0">
                <a:solidFill>
                  <a:srgbClr val="000000"/>
                </a:solidFill>
              </a:rPr>
              <a:t>I = high, II = medium, III = low</a:t>
            </a:r>
          </a:p>
        </p:txBody>
      </p:sp>
    </p:spTree>
    <p:extLst>
      <p:ext uri="{BB962C8B-B14F-4D97-AF65-F5344CB8AC3E}">
        <p14:creationId xmlns:p14="http://schemas.microsoft.com/office/powerpoint/2010/main" val="6979088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32F20B-7E84-42AF-882A-560CE1BA0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Dangerous</a:t>
            </a:r>
            <a:r>
              <a:rPr lang="de-CH"/>
              <a:t> </a:t>
            </a:r>
            <a:r>
              <a:rPr lang="de-CH" err="1"/>
              <a:t>Goods</a:t>
            </a:r>
            <a:r>
              <a:rPr lang="de-CH"/>
              <a:t> </a:t>
            </a:r>
            <a:r>
              <a:rPr lang="de-CH" err="1"/>
              <a:t>Regulations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43E9B8-B95C-47FB-9724-1C0AFA350D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4" y="1800226"/>
            <a:ext cx="7032082" cy="3034677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altLang="de-DE" dirty="0">
                <a:solidFill>
                  <a:srgbClr val="FF0000"/>
                </a:solidFill>
              </a:rPr>
              <a:t>Important:</a:t>
            </a: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altLang="de-DE" dirty="0">
                <a:solidFill>
                  <a:srgbClr val="333399"/>
                </a:solidFill>
              </a:rPr>
              <a:t>Dangerous Goods </a:t>
            </a:r>
            <a:r>
              <a:rPr lang="en-US" altLang="de-DE" b="1" dirty="0">
                <a:solidFill>
                  <a:srgbClr val="333399"/>
                </a:solidFill>
              </a:rPr>
              <a:t>may only</a:t>
            </a:r>
            <a:r>
              <a:rPr lang="en-US" altLang="de-DE" dirty="0">
                <a:solidFill>
                  <a:srgbClr val="333399"/>
                </a:solidFill>
              </a:rPr>
              <a:t> be transported in packaging which are </a:t>
            </a:r>
            <a:r>
              <a:rPr lang="en-US" altLang="de-DE" b="1" dirty="0">
                <a:solidFill>
                  <a:srgbClr val="333399"/>
                </a:solidFill>
              </a:rPr>
              <a:t>certified to UN standards</a:t>
            </a:r>
            <a:r>
              <a:rPr lang="en-US" altLang="de-DE" dirty="0">
                <a:solidFill>
                  <a:srgbClr val="333399"/>
                </a:solidFill>
              </a:rPr>
              <a:t>.</a:t>
            </a:r>
            <a:endParaRPr lang="en-US" altLang="de-DE" dirty="0"/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altLang="de-DE" dirty="0">
                <a:solidFill>
                  <a:srgbClr val="333399"/>
                </a:solidFill>
              </a:rPr>
              <a:t>The packages shall be marked with a UN </a:t>
            </a:r>
            <a:r>
              <a:rPr lang="en-US" altLang="de-DE" dirty="0">
                <a:solidFill>
                  <a:srgbClr val="333399"/>
                </a:solidFill>
                <a:hlinkClick r:id="rId3" action="ppaction://hlinksldjump"/>
              </a:rPr>
              <a:t>packaging specification</a:t>
            </a:r>
            <a:r>
              <a:rPr lang="en-US" altLang="de-DE" dirty="0">
                <a:solidFill>
                  <a:srgbClr val="333399"/>
                </a:solidFill>
                <a:hlinkClick r:id="" action="ppaction://noaction"/>
              </a:rPr>
              <a:t> </a:t>
            </a:r>
            <a:r>
              <a:rPr lang="en-US" altLang="de-DE" dirty="0">
                <a:solidFill>
                  <a:srgbClr val="333399"/>
                </a:solidFill>
              </a:rPr>
              <a:t>which must be shown on the surface of the package </a:t>
            </a:r>
          </a:p>
          <a:p>
            <a:pPr>
              <a:spcBef>
                <a:spcPct val="50000"/>
              </a:spcBef>
            </a:pPr>
            <a:endParaRPr lang="en-US" altLang="de-DE" dirty="0">
              <a:solidFill>
                <a:srgbClr val="333399"/>
              </a:solidFill>
            </a:endParaRPr>
          </a:p>
          <a:p>
            <a:pPr>
              <a:spcBef>
                <a:spcPct val="50000"/>
              </a:spcBef>
            </a:pPr>
            <a:endParaRPr lang="en-US" altLang="de-DE" dirty="0">
              <a:solidFill>
                <a:srgbClr val="333399"/>
              </a:solidFill>
            </a:endParaRP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en-US" altLang="de-DE" dirty="0">
                <a:solidFill>
                  <a:srgbClr val="333399"/>
                </a:solidFill>
              </a:rPr>
              <a:t>Special instructions of the </a:t>
            </a:r>
            <a:r>
              <a:rPr lang="en-US" altLang="de-DE" dirty="0">
                <a:solidFill>
                  <a:srgbClr val="333399"/>
                </a:solidFill>
                <a:hlinkClick r:id="rId4" action="ppaction://hlinkfile"/>
              </a:rPr>
              <a:t>packaging certificate </a:t>
            </a:r>
            <a:r>
              <a:rPr lang="en-US" altLang="de-DE" dirty="0">
                <a:solidFill>
                  <a:srgbClr val="333399"/>
                </a:solidFill>
              </a:rPr>
              <a:t>(e.g. closure, inner packaging, etc.) to be follow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66ECCF-7584-4410-8666-688EEBBB8C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err="1"/>
              <a:t>Packaging</a:t>
            </a:r>
            <a:endParaRPr lang="de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7A8A38-DFD3-4293-B15F-AAFCAEE0D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noProof="0" smtClean="0"/>
              <a:pPr/>
              <a:t>28</a:t>
            </a:fld>
            <a:endParaRPr lang="en-US" noProof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9BE0CA0-9FA3-40C9-B70E-50BD4140A8B1}"/>
              </a:ext>
            </a:extLst>
          </p:cNvPr>
          <p:cNvGrpSpPr/>
          <p:nvPr/>
        </p:nvGrpSpPr>
        <p:grpSpPr>
          <a:xfrm>
            <a:off x="2017246" y="3582610"/>
            <a:ext cx="4384845" cy="763590"/>
            <a:chOff x="1795463" y="1016000"/>
            <a:chExt cx="4384845" cy="763590"/>
          </a:xfrm>
        </p:grpSpPr>
        <p:sp>
          <p:nvSpPr>
            <p:cNvPr id="7" name="Rectangle 5">
              <a:extLst>
                <a:ext uri="{FF2B5EF4-FFF2-40B4-BE49-F238E27FC236}">
                  <a16:creationId xmlns:a16="http://schemas.microsoft.com/office/drawing/2014/main" id="{87C637A6-1723-494D-950B-479E01D8E2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5463" y="1016000"/>
              <a:ext cx="4216231" cy="755650"/>
            </a:xfrm>
            <a:prstGeom prst="rect">
              <a:avLst/>
            </a:prstGeom>
            <a:solidFill>
              <a:srgbClr val="CCFFF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CH"/>
            </a:p>
          </p:txBody>
        </p:sp>
        <p:sp>
          <p:nvSpPr>
            <p:cNvPr id="8" name="Rectangle 8">
              <a:extLst>
                <a:ext uri="{FF2B5EF4-FFF2-40B4-BE49-F238E27FC236}">
                  <a16:creationId xmlns:a16="http://schemas.microsoft.com/office/drawing/2014/main" id="{44B63DA9-9412-477B-8F10-45B7D8B1A8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30683" y="1130303"/>
              <a:ext cx="3349625" cy="4032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81873" tIns="40937" rIns="81873" bIns="40937">
              <a:spAutoFit/>
            </a:bodyPr>
            <a:lstStyle>
              <a:lvl1pPr defTabSz="8128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406400" defTabSz="8128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812800" defTabSz="8128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219200" defTabSz="8128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1625600" defTabSz="812800"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082800" defTabSz="812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540000" defTabSz="812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2997200" defTabSz="812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454400" defTabSz="812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r>
                <a:rPr lang="en-US" altLang="de-DE" sz="2100"/>
                <a:t>4G/Y145/S/83 NL/VL823</a:t>
              </a:r>
            </a:p>
          </p:txBody>
        </p:sp>
        <p:graphicFrame>
          <p:nvGraphicFramePr>
            <p:cNvPr id="9" name="Object 10">
              <a:extLst>
                <a:ext uri="{FF2B5EF4-FFF2-40B4-BE49-F238E27FC236}">
                  <a16:creationId xmlns:a16="http://schemas.microsoft.com/office/drawing/2014/main" id="{C71B517A-EF0D-4085-87CD-501031FCD875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1933745" y="1084265"/>
            <a:ext cx="695325" cy="6953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Photo Editor Photo" r:id="rId5" imgW="782280" imgH="782280" progId="MSPhotoEd.3">
                    <p:embed/>
                  </p:oleObj>
                </mc:Choice>
                <mc:Fallback>
                  <p:oleObj name="Photo Editor Photo" r:id="rId5" imgW="782280" imgH="782280" progId="MSPhotoEd.3">
                    <p:embed/>
                    <p:pic>
                      <p:nvPicPr>
                        <p:cNvPr id="9" name="Object 10">
                          <a:extLst>
                            <a:ext uri="{FF2B5EF4-FFF2-40B4-BE49-F238E27FC236}">
                              <a16:creationId xmlns:a16="http://schemas.microsoft.com/office/drawing/2014/main" id="{C71B517A-EF0D-4085-87CD-501031FCD875}"/>
                            </a:ext>
                          </a:extLst>
                        </p:cNvPr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6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933745" y="1084265"/>
                          <a:ext cx="695325" cy="6953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0CEA4E62-476B-4100-8E0A-AD7E99E61996}"/>
              </a:ext>
            </a:extLst>
          </p:cNvPr>
          <p:cNvGrpSpPr/>
          <p:nvPr/>
        </p:nvGrpSpPr>
        <p:grpSpPr>
          <a:xfrm>
            <a:off x="8051137" y="936876"/>
            <a:ext cx="3578025" cy="4018997"/>
            <a:chOff x="7240083" y="1424483"/>
            <a:chExt cx="2997291" cy="3284232"/>
          </a:xfrm>
        </p:grpSpPr>
        <p:pic>
          <p:nvPicPr>
            <p:cNvPr id="11" name="Picture 19">
              <a:extLst>
                <a:ext uri="{FF2B5EF4-FFF2-40B4-BE49-F238E27FC236}">
                  <a16:creationId xmlns:a16="http://schemas.microsoft.com/office/drawing/2014/main" id="{FE9AA3F1-24FD-428D-9D73-C79EE5FA62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70038" y="2020416"/>
              <a:ext cx="2967336" cy="26882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3E6ECF03-C575-4B66-94AA-DE1A30BFD1CD}"/>
                </a:ext>
              </a:extLst>
            </p:cNvPr>
            <p:cNvGrpSpPr/>
            <p:nvPr/>
          </p:nvGrpSpPr>
          <p:grpSpPr>
            <a:xfrm>
              <a:off x="7240083" y="1424483"/>
              <a:ext cx="2215491" cy="1314512"/>
              <a:chOff x="7240083" y="1424483"/>
              <a:chExt cx="2215491" cy="1314512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0711086A-250D-4E2E-A1C7-5B2F0EC7F518}"/>
                  </a:ext>
                </a:extLst>
              </p:cNvPr>
              <p:cNvGrpSpPr/>
              <p:nvPr/>
            </p:nvGrpSpPr>
            <p:grpSpPr>
              <a:xfrm>
                <a:off x="7240083" y="1424483"/>
                <a:ext cx="1364201" cy="485838"/>
                <a:chOff x="1676401" y="2752725"/>
                <a:chExt cx="1903413" cy="642939"/>
              </a:xfrm>
            </p:grpSpPr>
            <p:sp>
              <p:nvSpPr>
                <p:cNvPr id="22" name="AutoShape 7">
                  <a:extLst>
                    <a:ext uri="{FF2B5EF4-FFF2-40B4-BE49-F238E27FC236}">
                      <a16:creationId xmlns:a16="http://schemas.microsoft.com/office/drawing/2014/main" id="{F8E001DB-F97A-4FF4-BCCB-795DB9400537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676401" y="2752725"/>
                  <a:ext cx="1903413" cy="642939"/>
                </a:xfrm>
                <a:prstGeom prst="wedgeRectCallout">
                  <a:avLst>
                    <a:gd name="adj1" fmla="val 73156"/>
                    <a:gd name="adj2" fmla="val 123452"/>
                  </a:avLst>
                </a:prstGeom>
                <a:noFill/>
                <a:ln w="38100">
                  <a:solidFill>
                    <a:srgbClr val="FF0000"/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>
                  <a:lvl1pPr>
                    <a:buChar char="•"/>
                    <a:defRPr>
                      <a:solidFill>
                        <a:schemeClr val="tx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buChar char="–"/>
                    <a:defRPr>
                      <a:solidFill>
                        <a:schemeClr val="tx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buChar char="•"/>
                    <a:defRPr>
                      <a:solidFill>
                        <a:schemeClr val="tx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buChar char="–"/>
                    <a:defRPr>
                      <a:solidFill>
                        <a:schemeClr val="tx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buChar char="»"/>
                    <a:defRPr>
                      <a:solidFill>
                        <a:schemeClr val="tx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har char="»"/>
                    <a:defRPr>
                      <a:solidFill>
                        <a:schemeClr val="tx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har char="»"/>
                    <a:defRPr>
                      <a:solidFill>
                        <a:schemeClr val="tx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har char="»"/>
                    <a:defRPr>
                      <a:solidFill>
                        <a:schemeClr val="tx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har char="»"/>
                    <a:defRPr>
                      <a:solidFill>
                        <a:schemeClr val="tx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>
                    <a:buFontTx/>
                    <a:buNone/>
                  </a:pPr>
                  <a:endParaRPr lang="en-US" altLang="nl-NL">
                    <a:latin typeface="Arial" panose="020B0604020202020204" pitchFamily="34" charset="0"/>
                  </a:endParaRPr>
                </a:p>
              </p:txBody>
            </p:sp>
            <p:sp>
              <p:nvSpPr>
                <p:cNvPr id="23" name="Text Box 8">
                  <a:extLst>
                    <a:ext uri="{FF2B5EF4-FFF2-40B4-BE49-F238E27FC236}">
                      <a16:creationId xmlns:a16="http://schemas.microsoft.com/office/drawing/2014/main" id="{44016B7D-9E6F-4C2F-8EA7-8D0268E545FD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1779587" y="2835163"/>
                  <a:ext cx="1757362" cy="49925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>
                  <a:lvl1pPr>
                    <a:buChar char="•"/>
                    <a:defRPr>
                      <a:solidFill>
                        <a:schemeClr val="tx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defRPr>
                  </a:lvl1pPr>
                  <a:lvl2pPr marL="742950" indent="-285750">
                    <a:buChar char="–"/>
                    <a:defRPr>
                      <a:solidFill>
                        <a:schemeClr val="tx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defRPr>
                  </a:lvl2pPr>
                  <a:lvl3pPr marL="1143000" indent="-228600">
                    <a:buChar char="•"/>
                    <a:defRPr>
                      <a:solidFill>
                        <a:schemeClr val="tx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defRPr>
                  </a:lvl3pPr>
                  <a:lvl4pPr marL="1600200" indent="-228600">
                    <a:buChar char="–"/>
                    <a:defRPr>
                      <a:solidFill>
                        <a:schemeClr val="tx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defRPr>
                  </a:lvl4pPr>
                  <a:lvl5pPr marL="2057400" indent="-228600">
                    <a:buChar char="»"/>
                    <a:defRPr>
                      <a:solidFill>
                        <a:schemeClr val="tx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har char="»"/>
                    <a:defRPr>
                      <a:solidFill>
                        <a:schemeClr val="tx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har char="»"/>
                    <a:defRPr>
                      <a:solidFill>
                        <a:schemeClr val="tx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har char="»"/>
                    <a:defRPr>
                      <a:solidFill>
                        <a:schemeClr val="tx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buChar char="»"/>
                    <a:defRPr>
                      <a:solidFill>
                        <a:schemeClr val="tx1"/>
                      </a:solidFill>
                      <a:latin typeface="Trebuchet MS" panose="020B0603020202020204" pitchFamily="34" charset="0"/>
                      <a:cs typeface="Arial" panose="020B0604020202020204" pitchFamily="34" charset="0"/>
                    </a:defRPr>
                  </a:lvl9pPr>
                </a:lstStyle>
                <a:p>
                  <a:pPr algn="ctr">
                    <a:buFontTx/>
                    <a:buNone/>
                  </a:pPr>
                  <a:r>
                    <a:rPr lang="en-US" altLang="nl-NL" sz="1200" b="1"/>
                    <a:t>UN packaging code</a:t>
                  </a:r>
                  <a:endParaRPr lang="nl-NL" altLang="nl-NL" sz="1200" b="1"/>
                </a:p>
              </p:txBody>
            </p:sp>
          </p:grpSp>
          <p:sp>
            <p:nvSpPr>
              <p:cNvPr id="21" name="Oval 15">
                <a:extLst>
                  <a:ext uri="{FF2B5EF4-FFF2-40B4-BE49-F238E27FC236}">
                    <a16:creationId xmlns:a16="http://schemas.microsoft.com/office/drawing/2014/main" id="{14765D04-3D15-48FC-8398-14292D828AB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083368" y="2276536"/>
                <a:ext cx="1372206" cy="462459"/>
              </a:xfrm>
              <a:prstGeom prst="ellipse">
                <a:avLst/>
              </a:prstGeom>
              <a:noFill/>
              <a:ln w="38100" algn="ctr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buChar char="•"/>
                  <a:defRPr>
                    <a:solidFill>
                      <a:schemeClr val="tx1"/>
                    </a:solidFill>
                    <a:latin typeface="Trebuchet MS" panose="020B0603020202020204" pitchFamily="34" charset="0"/>
                    <a:cs typeface="Arial" panose="020B0604020202020204" pitchFamily="34" charset="0"/>
                  </a:defRPr>
                </a:lvl1pPr>
                <a:lvl2pPr marL="742950" indent="-285750">
                  <a:buChar char="–"/>
                  <a:defRPr>
                    <a:solidFill>
                      <a:schemeClr val="tx1"/>
                    </a:solidFill>
                    <a:latin typeface="Trebuchet MS" panose="020B0603020202020204" pitchFamily="34" charset="0"/>
                    <a:cs typeface="Arial" panose="020B0604020202020204" pitchFamily="34" charset="0"/>
                  </a:defRPr>
                </a:lvl2pPr>
                <a:lvl3pPr marL="1143000" indent="-228600">
                  <a:buChar char="•"/>
                  <a:defRPr>
                    <a:solidFill>
                      <a:schemeClr val="tx1"/>
                    </a:solidFill>
                    <a:latin typeface="Trebuchet MS" panose="020B0603020202020204" pitchFamily="34" charset="0"/>
                    <a:cs typeface="Arial" panose="020B0604020202020204" pitchFamily="34" charset="0"/>
                  </a:defRPr>
                </a:lvl3pPr>
                <a:lvl4pPr marL="1600200" indent="-228600">
                  <a:buChar char="–"/>
                  <a:defRPr>
                    <a:solidFill>
                      <a:schemeClr val="tx1"/>
                    </a:solidFill>
                    <a:latin typeface="Trebuchet MS" panose="020B0603020202020204" pitchFamily="34" charset="0"/>
                    <a:cs typeface="Arial" panose="020B0604020202020204" pitchFamily="34" charset="0"/>
                  </a:defRPr>
                </a:lvl4pPr>
                <a:lvl5pPr marL="2057400" indent="-228600">
                  <a:buChar char="»"/>
                  <a:defRPr>
                    <a:solidFill>
                      <a:schemeClr val="tx1"/>
                    </a:solidFill>
                    <a:latin typeface="Trebuchet MS" panose="020B0603020202020204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»"/>
                  <a:defRPr>
                    <a:solidFill>
                      <a:schemeClr val="tx1"/>
                    </a:solidFill>
                    <a:latin typeface="Trebuchet MS" panose="020B0603020202020204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»"/>
                  <a:defRPr>
                    <a:solidFill>
                      <a:schemeClr val="tx1"/>
                    </a:solidFill>
                    <a:latin typeface="Trebuchet MS" panose="020B0603020202020204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»"/>
                  <a:defRPr>
                    <a:solidFill>
                      <a:schemeClr val="tx1"/>
                    </a:solidFill>
                    <a:latin typeface="Trebuchet MS" panose="020B0603020202020204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buChar char="»"/>
                  <a:defRPr>
                    <a:solidFill>
                      <a:schemeClr val="tx1"/>
                    </a:solidFill>
                    <a:latin typeface="Trebuchet MS" panose="020B0603020202020204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buFontTx/>
                  <a:buNone/>
                </a:pPr>
                <a:endParaRPr lang="en-US" altLang="nl-NL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062811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32F20B-7E84-42AF-882A-560CE1BA0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Dangerous</a:t>
            </a:r>
            <a:r>
              <a:rPr lang="de-CH"/>
              <a:t> </a:t>
            </a:r>
            <a:r>
              <a:rPr lang="de-CH" err="1"/>
              <a:t>Goods</a:t>
            </a:r>
            <a:r>
              <a:rPr lang="de-CH"/>
              <a:t> </a:t>
            </a:r>
            <a:r>
              <a:rPr lang="de-CH" err="1"/>
              <a:t>Regulations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43E9B8-B95C-47FB-9724-1C0AFA350D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6"/>
            <a:ext cx="5697595" cy="1785104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altLang="de-DE" dirty="0">
                <a:solidFill>
                  <a:srgbClr val="FF0000"/>
                </a:solidFill>
              </a:rPr>
              <a:t>Important:</a:t>
            </a:r>
          </a:p>
          <a:p>
            <a:pPr marL="266700" lvl="1" indent="0">
              <a:lnSpc>
                <a:spcPct val="90000"/>
              </a:lnSpc>
              <a:spcAft>
                <a:spcPts val="600"/>
              </a:spcAft>
              <a:buNone/>
            </a:pPr>
            <a:r>
              <a:rPr lang="de-CH" altLang="de-DE" dirty="0">
                <a:solidFill>
                  <a:srgbClr val="333399"/>
                </a:solidFill>
              </a:rPr>
              <a:t>DG </a:t>
            </a:r>
            <a:r>
              <a:rPr lang="de-CH" altLang="de-DE" dirty="0" err="1">
                <a:solidFill>
                  <a:srgbClr val="333399"/>
                </a:solidFill>
              </a:rPr>
              <a:t>transport</a:t>
            </a:r>
            <a:r>
              <a:rPr lang="de-CH" altLang="de-DE" dirty="0">
                <a:solidFill>
                  <a:srgbClr val="333399"/>
                </a:solidFill>
              </a:rPr>
              <a:t> in </a:t>
            </a:r>
            <a:r>
              <a:rPr lang="de-CH" altLang="de-DE" dirty="0" err="1">
                <a:solidFill>
                  <a:srgbClr val="333399"/>
                </a:solidFill>
              </a:rPr>
              <a:t>bulk</a:t>
            </a:r>
            <a:r>
              <a:rPr lang="de-CH" altLang="de-DE" dirty="0">
                <a:solidFill>
                  <a:srgbClr val="333399"/>
                </a:solidFill>
              </a:rPr>
              <a:t> </a:t>
            </a:r>
            <a:r>
              <a:rPr lang="de-CH" altLang="de-DE" dirty="0" err="1">
                <a:solidFill>
                  <a:srgbClr val="333399"/>
                </a:solidFill>
              </a:rPr>
              <a:t>is</a:t>
            </a:r>
            <a:r>
              <a:rPr lang="de-CH" altLang="de-DE" dirty="0">
                <a:solidFill>
                  <a:srgbClr val="333399"/>
                </a:solidFill>
              </a:rPr>
              <a:t> </a:t>
            </a:r>
            <a:r>
              <a:rPr lang="de-CH" altLang="de-DE" dirty="0" err="1">
                <a:solidFill>
                  <a:srgbClr val="333399"/>
                </a:solidFill>
              </a:rPr>
              <a:t>only</a:t>
            </a:r>
            <a:r>
              <a:rPr lang="de-CH" altLang="de-DE" dirty="0">
                <a:solidFill>
                  <a:srgbClr val="333399"/>
                </a:solidFill>
              </a:rPr>
              <a:t> </a:t>
            </a:r>
            <a:r>
              <a:rPr lang="de-CH" altLang="de-DE" dirty="0" err="1">
                <a:solidFill>
                  <a:srgbClr val="333399"/>
                </a:solidFill>
              </a:rPr>
              <a:t>allowed</a:t>
            </a:r>
            <a:r>
              <a:rPr lang="de-CH" altLang="de-DE" dirty="0">
                <a:solidFill>
                  <a:srgbClr val="333399"/>
                </a:solidFill>
              </a:rPr>
              <a:t> </a:t>
            </a:r>
            <a:r>
              <a:rPr lang="de-CH" altLang="de-DE" dirty="0" err="1">
                <a:solidFill>
                  <a:srgbClr val="333399"/>
                </a:solidFill>
              </a:rPr>
              <a:t>if</a:t>
            </a:r>
            <a:r>
              <a:rPr lang="de-CH" altLang="de-DE" dirty="0">
                <a:solidFill>
                  <a:srgbClr val="333399"/>
                </a:solidFill>
              </a:rPr>
              <a:t> </a:t>
            </a:r>
            <a:r>
              <a:rPr lang="de-CH" altLang="de-DE" dirty="0" err="1">
                <a:solidFill>
                  <a:srgbClr val="333399"/>
                </a:solidFill>
              </a:rPr>
              <a:t>it</a:t>
            </a:r>
            <a:r>
              <a:rPr lang="de-CH" altLang="de-DE" dirty="0">
                <a:solidFill>
                  <a:srgbClr val="333399"/>
                </a:solidFill>
              </a:rPr>
              <a:t> </a:t>
            </a:r>
            <a:r>
              <a:rPr lang="de-CH" altLang="de-DE" dirty="0" err="1">
                <a:solidFill>
                  <a:srgbClr val="333399"/>
                </a:solidFill>
              </a:rPr>
              <a:t>is</a:t>
            </a:r>
            <a:r>
              <a:rPr lang="de-CH" altLang="de-DE" dirty="0">
                <a:solidFill>
                  <a:srgbClr val="333399"/>
                </a:solidFill>
              </a:rPr>
              <a:t> </a:t>
            </a:r>
            <a:r>
              <a:rPr lang="de-CH" altLang="de-DE" dirty="0" err="1">
                <a:solidFill>
                  <a:srgbClr val="333399"/>
                </a:solidFill>
              </a:rPr>
              <a:t>indicated</a:t>
            </a:r>
            <a:r>
              <a:rPr lang="de-CH" altLang="de-DE" dirty="0">
                <a:solidFill>
                  <a:srgbClr val="333399"/>
                </a:solidFill>
              </a:rPr>
              <a:t> in </a:t>
            </a:r>
            <a:r>
              <a:rPr lang="de-CH" altLang="de-DE" dirty="0" err="1">
                <a:solidFill>
                  <a:srgbClr val="333399"/>
                </a:solidFill>
              </a:rPr>
              <a:t>the</a:t>
            </a:r>
            <a:r>
              <a:rPr lang="de-CH" altLang="de-DE" dirty="0">
                <a:solidFill>
                  <a:srgbClr val="333399"/>
                </a:solidFill>
              </a:rPr>
              <a:t> </a:t>
            </a:r>
            <a:r>
              <a:rPr lang="de-CH" altLang="de-DE" dirty="0" err="1">
                <a:solidFill>
                  <a:srgbClr val="333399"/>
                </a:solidFill>
              </a:rPr>
              <a:t>central</a:t>
            </a:r>
            <a:r>
              <a:rPr lang="de-CH" altLang="de-DE" dirty="0">
                <a:solidFill>
                  <a:srgbClr val="333399"/>
                </a:solidFill>
              </a:rPr>
              <a:t> </a:t>
            </a:r>
            <a:r>
              <a:rPr lang="de-CH" altLang="de-DE" dirty="0" err="1">
                <a:solidFill>
                  <a:srgbClr val="333399"/>
                </a:solidFill>
              </a:rPr>
              <a:t>table</a:t>
            </a:r>
            <a:r>
              <a:rPr lang="de-CH" altLang="de-DE" dirty="0">
                <a:solidFill>
                  <a:srgbClr val="333399"/>
                </a:solidFill>
              </a:rPr>
              <a:t> </a:t>
            </a:r>
            <a:r>
              <a:rPr lang="de-CH" altLang="de-DE" dirty="0" err="1">
                <a:solidFill>
                  <a:srgbClr val="333399"/>
                </a:solidFill>
              </a:rPr>
              <a:t>of</a:t>
            </a:r>
            <a:r>
              <a:rPr lang="de-CH" altLang="de-DE" dirty="0">
                <a:solidFill>
                  <a:srgbClr val="333399"/>
                </a:solidFill>
              </a:rPr>
              <a:t> DG Regulation </a:t>
            </a:r>
            <a:r>
              <a:rPr lang="de-CH" altLang="de-DE" dirty="0" err="1">
                <a:solidFill>
                  <a:srgbClr val="333399"/>
                </a:solidFill>
              </a:rPr>
              <a:t>by</a:t>
            </a:r>
            <a:r>
              <a:rPr lang="en-US" altLang="de-DE" dirty="0">
                <a:solidFill>
                  <a:srgbClr val="333399"/>
                </a:solidFill>
              </a:rPr>
              <a:t>:</a:t>
            </a:r>
            <a:br>
              <a:rPr lang="en-US" altLang="de-DE" dirty="0">
                <a:solidFill>
                  <a:srgbClr val="333399"/>
                </a:solidFill>
              </a:rPr>
            </a:br>
            <a:endParaRPr lang="en-US" altLang="de-DE" dirty="0"/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de-CH" altLang="de-DE" dirty="0">
                <a:solidFill>
                  <a:srgbClr val="333399"/>
                </a:solidFill>
              </a:rPr>
              <a:t>a Tank Code (e.g. LGBF)    </a:t>
            </a:r>
            <a:r>
              <a:rPr lang="de-CH" altLang="de-DE" dirty="0" err="1">
                <a:solidFill>
                  <a:srgbClr val="333399"/>
                </a:solidFill>
              </a:rPr>
              <a:t>or</a:t>
            </a:r>
            <a:r>
              <a:rPr lang="de-CH" altLang="de-DE" dirty="0">
                <a:solidFill>
                  <a:srgbClr val="333399"/>
                </a:solidFill>
              </a:rPr>
              <a:t>	</a:t>
            </a:r>
            <a:endParaRPr lang="en-US" altLang="de-DE" dirty="0">
              <a:solidFill>
                <a:srgbClr val="333399"/>
              </a:solidFill>
            </a:endParaRPr>
          </a:p>
          <a:p>
            <a:pPr lvl="1">
              <a:lnSpc>
                <a:spcPct val="90000"/>
              </a:lnSpc>
              <a:spcAft>
                <a:spcPts val="600"/>
              </a:spcAft>
            </a:pPr>
            <a:r>
              <a:rPr lang="de-CH" altLang="de-DE" dirty="0">
                <a:solidFill>
                  <a:srgbClr val="333399"/>
                </a:solidFill>
              </a:rPr>
              <a:t>a Tank </a:t>
            </a:r>
            <a:r>
              <a:rPr lang="de-CH" altLang="de-DE" dirty="0" err="1">
                <a:solidFill>
                  <a:srgbClr val="333399"/>
                </a:solidFill>
              </a:rPr>
              <a:t>Instruction</a:t>
            </a:r>
            <a:r>
              <a:rPr lang="de-CH" altLang="de-DE" dirty="0">
                <a:solidFill>
                  <a:srgbClr val="333399"/>
                </a:solidFill>
              </a:rPr>
              <a:t> (e.g. T10, </a:t>
            </a:r>
            <a:r>
              <a:rPr lang="de-CH" altLang="de-DE" dirty="0" err="1">
                <a:solidFill>
                  <a:srgbClr val="333399"/>
                </a:solidFill>
              </a:rPr>
              <a:t>for</a:t>
            </a:r>
            <a:r>
              <a:rPr lang="de-CH" altLang="de-DE" dirty="0">
                <a:solidFill>
                  <a:srgbClr val="333399"/>
                </a:solidFill>
              </a:rPr>
              <a:t> portable </a:t>
            </a:r>
            <a:r>
              <a:rPr lang="de-CH" altLang="de-DE" dirty="0" err="1">
                <a:solidFill>
                  <a:srgbClr val="333399"/>
                </a:solidFill>
              </a:rPr>
              <a:t>tanks</a:t>
            </a:r>
            <a:r>
              <a:rPr lang="de-CH" altLang="de-DE" dirty="0">
                <a:solidFill>
                  <a:srgbClr val="333399"/>
                </a:solidFill>
              </a:rPr>
              <a:t>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66ECCF-7584-4410-8666-688EEBBB8C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 dirty="0" err="1"/>
              <a:t>Bulk</a:t>
            </a:r>
            <a:r>
              <a:rPr lang="de-CH" dirty="0"/>
              <a:t> </a:t>
            </a:r>
            <a:r>
              <a:rPr lang="de-CH" dirty="0" err="1"/>
              <a:t>container</a:t>
            </a:r>
            <a:r>
              <a:rPr lang="de-CH" dirty="0"/>
              <a:t>/</a:t>
            </a:r>
            <a:r>
              <a:rPr lang="de-CH" dirty="0" err="1"/>
              <a:t>vessels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7A8A38-DFD3-4293-B15F-AAFCAEE0D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noProof="0" smtClean="0"/>
              <a:pPr/>
              <a:t>29</a:t>
            </a:fld>
            <a:endParaRPr lang="en-US" noProof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EB2F60E-B1D9-441E-985A-0289BEC717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3780" y="547040"/>
            <a:ext cx="5214376" cy="3915001"/>
          </a:xfrm>
          <a:prstGeom prst="rect">
            <a:avLst/>
          </a:prstGeom>
        </p:spPr>
      </p:pic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62FA369A-F742-4681-9A19-18F42BD32A75}"/>
              </a:ext>
            </a:extLst>
          </p:cNvPr>
          <p:cNvCxnSpPr>
            <a:cxnSpLocks/>
          </p:cNvCxnSpPr>
          <p:nvPr/>
        </p:nvCxnSpPr>
        <p:spPr>
          <a:xfrm flipV="1">
            <a:off x="3410309" y="1678887"/>
            <a:ext cx="5792414" cy="1363362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FC886D2F-BC14-4243-855A-D079B230640C}"/>
              </a:ext>
            </a:extLst>
          </p:cNvPr>
          <p:cNvCxnSpPr>
            <a:cxnSpLocks/>
          </p:cNvCxnSpPr>
          <p:nvPr/>
        </p:nvCxnSpPr>
        <p:spPr>
          <a:xfrm flipV="1">
            <a:off x="5851518" y="1952885"/>
            <a:ext cx="3767044" cy="1476115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>
            <a:extLst>
              <a:ext uri="{FF2B5EF4-FFF2-40B4-BE49-F238E27FC236}">
                <a16:creationId xmlns:a16="http://schemas.microsoft.com/office/drawing/2014/main" id="{9C14F715-65A8-40AF-A574-697A3FBC28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3586" y="4563537"/>
            <a:ext cx="9115864" cy="182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031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1A240E-894C-4F08-A5D9-CC628572EB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1A240E-894C-4F08-A5D9-CC628572E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8E6EF11-4244-4FD6-B99F-A29DCC361A3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err="1">
              <a:solidFill>
                <a:schemeClr val="tx1"/>
              </a:solidFill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5BEA8FA2-1731-48DC-9770-54523A71E8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000" y="1326934"/>
            <a:ext cx="9144000" cy="369332"/>
          </a:xfrm>
        </p:spPr>
        <p:txBody>
          <a:bodyPr/>
          <a:lstStyle/>
          <a:p>
            <a:r>
              <a:rPr lang="en-US" dirty="0">
                <a:latin typeface="Fira Sans" panose="020B0503050000020004" pitchFamily="34" charset="0"/>
                <a:ea typeface="Fira Sans" panose="020B0503050000020004" pitchFamily="34" charset="0"/>
              </a:rPr>
              <a:t>&amp; What’s in it for you as Supplier? </a:t>
            </a:r>
            <a:endParaRPr lang="nl-NL" dirty="0">
              <a:latin typeface="Fira Sans" panose="020B0503050000020004" pitchFamily="34" charset="0"/>
              <a:ea typeface="Fira Sans" panose="020B05030500000200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2D7C88-9F8E-4607-B42E-A0DBD50302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9999" y="540000"/>
            <a:ext cx="9711503" cy="609398"/>
          </a:xfrm>
        </p:spPr>
        <p:txBody>
          <a:bodyPr/>
          <a:lstStyle/>
          <a:p>
            <a:r>
              <a:rPr lang="en-US" dirty="0"/>
              <a:t>1. Why is Transport Safety importan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824DFE-2210-433E-B845-BD8E2BBB5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9" name="Picture 154">
            <a:extLst>
              <a:ext uri="{FF2B5EF4-FFF2-40B4-BE49-F238E27FC236}">
                <a16:creationId xmlns:a16="http://schemas.microsoft.com/office/drawing/2014/main" id="{B1C4BEA4-87E0-4AE5-8258-DA1A71CF33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56606" y="464830"/>
            <a:ext cx="1308660" cy="1308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530204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24FBE49-C0F5-476F-9B5F-9D0E2A223AA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2746" y="480773"/>
            <a:ext cx="4129038" cy="60029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B319C06-700C-464F-BD27-4CD3131F19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Dangerous</a:t>
            </a:r>
            <a:r>
              <a:rPr lang="de-CH"/>
              <a:t> </a:t>
            </a:r>
            <a:r>
              <a:rPr lang="de-CH" err="1"/>
              <a:t>Goods</a:t>
            </a:r>
            <a:r>
              <a:rPr lang="de-CH"/>
              <a:t> </a:t>
            </a:r>
            <a:r>
              <a:rPr lang="de-CH" err="1"/>
              <a:t>Regulations</a:t>
            </a:r>
            <a:endParaRPr lang="de-CH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59D203-F7F7-4091-AA8B-FC109B8980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8000" y="936876"/>
            <a:ext cx="11258862" cy="369332"/>
          </a:xfrm>
        </p:spPr>
        <p:txBody>
          <a:bodyPr/>
          <a:lstStyle/>
          <a:p>
            <a:r>
              <a:rPr lang="de-CH"/>
              <a:t>Transport </a:t>
            </a:r>
            <a:r>
              <a:rPr lang="de-CH" err="1"/>
              <a:t>document</a:t>
            </a:r>
            <a:endParaRPr lang="de-CH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FE2E89-FEC5-4F93-9918-0635918713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noProof="0" smtClean="0"/>
              <a:pPr/>
              <a:t>30</a:t>
            </a:fld>
            <a:endParaRPr lang="en-US" noProof="0"/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A7F506BB-06B9-465D-9670-AE8FA2CC9776}"/>
              </a:ext>
            </a:extLst>
          </p:cNvPr>
          <p:cNvSpPr txBox="1">
            <a:spLocks noChangeArrowheads="1"/>
          </p:cNvSpPr>
          <p:nvPr/>
        </p:nvSpPr>
        <p:spPr>
          <a:xfrm>
            <a:off x="467999" y="1800000"/>
            <a:ext cx="6894747" cy="2785042"/>
          </a:xfrm>
          <a:prstGeom prst="rect">
            <a:avLst/>
          </a:prstGeom>
        </p:spPr>
        <p:txBody>
          <a:bodyPr/>
          <a:lstStyle>
            <a:lvl1pPr marL="252000" indent="-252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indent="-2667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–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de-DE"/>
              <a:t>DG information shall be shown in the following order:</a:t>
            </a:r>
          </a:p>
          <a:p>
            <a:pPr lvl="1"/>
            <a:r>
              <a:rPr lang="en-US" altLang="de-DE"/>
              <a:t>UN-Number </a:t>
            </a:r>
          </a:p>
          <a:p>
            <a:pPr lvl="1"/>
            <a:r>
              <a:rPr lang="en-US" altLang="de-DE"/>
              <a:t>Proper Shipping Name (Technical name, if need)</a:t>
            </a:r>
          </a:p>
          <a:p>
            <a:pPr lvl="1"/>
            <a:r>
              <a:rPr lang="en-US" altLang="de-DE"/>
              <a:t>primary hazard class (subsidiary hazard)</a:t>
            </a:r>
          </a:p>
          <a:p>
            <a:pPr lvl="1"/>
            <a:r>
              <a:rPr lang="en-US" altLang="de-DE"/>
              <a:t>Packing Group</a:t>
            </a:r>
          </a:p>
          <a:p>
            <a:pPr lvl="1"/>
            <a:r>
              <a:rPr lang="en-US" altLang="de-DE"/>
              <a:t>Additional information to be added (e.g. Flashpoint) if required</a:t>
            </a:r>
          </a:p>
          <a:p>
            <a:pPr lvl="1"/>
            <a:endParaRPr lang="en-US" altLang="de-DE"/>
          </a:p>
        </p:txBody>
      </p:sp>
      <p:sp>
        <p:nvSpPr>
          <p:cNvPr id="8" name="Text Box 5">
            <a:extLst>
              <a:ext uri="{FF2B5EF4-FFF2-40B4-BE49-F238E27FC236}">
                <a16:creationId xmlns:a16="http://schemas.microsoft.com/office/drawing/2014/main" id="{4E5F4FBA-0AE2-410B-9304-BDABFD9DD84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68655" y="4257127"/>
            <a:ext cx="6293437" cy="127727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de-DE" sz="1400">
                <a:solidFill>
                  <a:srgbClr val="FF0000"/>
                </a:solidFill>
              </a:rPr>
              <a:t>Examples:</a:t>
            </a:r>
          </a:p>
          <a:p>
            <a:pPr>
              <a:spcBef>
                <a:spcPct val="50000"/>
              </a:spcBef>
            </a:pPr>
            <a:r>
              <a:rPr lang="en-US" altLang="de-DE" sz="1400">
                <a:solidFill>
                  <a:srgbClr val="333399"/>
                </a:solidFill>
              </a:rPr>
              <a:t>UN 1230 Methanol, 3 (6.1), II</a:t>
            </a:r>
            <a:endParaRPr lang="en-US" altLang="de-DE" sz="1400">
              <a:solidFill>
                <a:srgbClr val="FF0000"/>
              </a:solidFill>
            </a:endParaRPr>
          </a:p>
          <a:p>
            <a:pPr>
              <a:spcBef>
                <a:spcPct val="50000"/>
              </a:spcBef>
            </a:pPr>
            <a:r>
              <a:rPr lang="en-US" altLang="de-DE" sz="1400">
                <a:solidFill>
                  <a:srgbClr val="333399"/>
                </a:solidFill>
              </a:rPr>
              <a:t>UN 1251 </a:t>
            </a:r>
            <a:r>
              <a:rPr lang="en-US" altLang="de-DE" sz="1400" err="1">
                <a:solidFill>
                  <a:srgbClr val="333399"/>
                </a:solidFill>
              </a:rPr>
              <a:t>Methylvinylketone</a:t>
            </a:r>
            <a:r>
              <a:rPr lang="en-US" altLang="de-DE" sz="1400">
                <a:solidFill>
                  <a:srgbClr val="333399"/>
                </a:solidFill>
              </a:rPr>
              <a:t>, stabilized, 6.1 (3,8), I (-7°C c.c.) Marine Pollutant</a:t>
            </a:r>
          </a:p>
          <a:p>
            <a:pPr>
              <a:spcBef>
                <a:spcPct val="50000"/>
              </a:spcBef>
            </a:pPr>
            <a:r>
              <a:rPr lang="en-US" altLang="de-DE" sz="1400">
                <a:solidFill>
                  <a:srgbClr val="333399"/>
                </a:solidFill>
              </a:rPr>
              <a:t>UN 2810 Toxic liquid, organic, </a:t>
            </a:r>
            <a:r>
              <a:rPr lang="en-US" altLang="de-DE" sz="1400" err="1">
                <a:solidFill>
                  <a:srgbClr val="333399"/>
                </a:solidFill>
              </a:rPr>
              <a:t>n.o.s</a:t>
            </a:r>
            <a:r>
              <a:rPr lang="en-US" altLang="de-DE" sz="1400">
                <a:solidFill>
                  <a:srgbClr val="333399"/>
                </a:solidFill>
              </a:rPr>
              <a:t>. (cholecalciferol), 6.1, II </a:t>
            </a:r>
          </a:p>
        </p:txBody>
      </p:sp>
    </p:spTree>
    <p:extLst>
      <p:ext uri="{BB962C8B-B14F-4D97-AF65-F5344CB8AC3E}">
        <p14:creationId xmlns:p14="http://schemas.microsoft.com/office/powerpoint/2010/main" val="261516346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32F20B-7E84-42AF-882A-560CE1BA0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err="1"/>
              <a:t>Dangerous</a:t>
            </a:r>
            <a:r>
              <a:rPr lang="de-CH"/>
              <a:t> </a:t>
            </a:r>
            <a:r>
              <a:rPr lang="de-CH" err="1"/>
              <a:t>Goods</a:t>
            </a:r>
            <a:r>
              <a:rPr lang="de-CH"/>
              <a:t> </a:t>
            </a:r>
            <a:r>
              <a:rPr lang="de-CH" err="1"/>
              <a:t>Regulations</a:t>
            </a:r>
            <a:endParaRPr lang="de-CH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43E9B8-B95C-47FB-9724-1C0AFA350D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5313" y="3927849"/>
            <a:ext cx="11258863" cy="1837683"/>
          </a:xfrm>
        </p:spPr>
        <p:txBody>
          <a:bodyPr/>
          <a:lstStyle/>
          <a:p>
            <a:pPr marL="252000" lvl="1" indent="-2520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de-DE" sz="2000"/>
              <a:t>Measures must be taken to minimize theft or misuse e.g. hand-over only after having checked the right for delivery/receipt</a:t>
            </a:r>
          </a:p>
          <a:p>
            <a:pPr marL="252000" lvl="1" indent="-2520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/>
              <a:t>Carriers, consignors and other participants (including infrastructure managers) engaged in the transport of HCDG shall adopt, implement and comply with a </a:t>
            </a:r>
            <a:r>
              <a:rPr lang="en-US" sz="2000">
                <a:solidFill>
                  <a:srgbClr val="FF0000"/>
                </a:solidFill>
              </a:rPr>
              <a:t>security plan </a:t>
            </a:r>
            <a:r>
              <a:rPr lang="en-US" sz="2000"/>
              <a:t>(UN 1.4.3.2.2.1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F66ECCF-7584-4410-8666-688EEBBB8C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CH"/>
              <a:t>High </a:t>
            </a:r>
            <a:r>
              <a:rPr lang="de-CH" err="1"/>
              <a:t>Consequence</a:t>
            </a:r>
            <a:r>
              <a:rPr lang="de-CH"/>
              <a:t> </a:t>
            </a:r>
            <a:r>
              <a:rPr lang="de-CH" err="1"/>
              <a:t>Dangerous</a:t>
            </a:r>
            <a:r>
              <a:rPr lang="de-CH"/>
              <a:t> </a:t>
            </a:r>
            <a:r>
              <a:rPr lang="de-CH" err="1"/>
              <a:t>Goods</a:t>
            </a:r>
            <a:r>
              <a:rPr lang="de-CH"/>
              <a:t> - Secur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B7A8A38-DFD3-4293-B15F-AAFCAEE0D4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noProof="0" smtClean="0"/>
              <a:pPr/>
              <a:t>31</a:t>
            </a:fld>
            <a:endParaRPr lang="en-US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C5C8D02-0D07-4A24-9340-B157F3E6FFBB}"/>
              </a:ext>
            </a:extLst>
          </p:cNvPr>
          <p:cNvSpPr/>
          <p:nvPr/>
        </p:nvSpPr>
        <p:spPr>
          <a:xfrm>
            <a:off x="461334" y="1785077"/>
            <a:ext cx="6096000" cy="189154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52000" lvl="1" indent="-2520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de-DE" sz="2000" dirty="0">
                <a:solidFill>
                  <a:srgbClr val="FF0000"/>
                </a:solidFill>
              </a:rPr>
              <a:t>H</a:t>
            </a:r>
            <a:r>
              <a:rPr lang="en-US" altLang="de-DE" sz="2000" dirty="0"/>
              <a:t>igh </a:t>
            </a:r>
            <a:r>
              <a:rPr lang="en-US" altLang="de-DE" sz="2000" dirty="0">
                <a:solidFill>
                  <a:srgbClr val="FF0000"/>
                </a:solidFill>
              </a:rPr>
              <a:t>C</a:t>
            </a:r>
            <a:r>
              <a:rPr lang="en-US" altLang="de-DE" sz="2000" dirty="0"/>
              <a:t>onsequence </a:t>
            </a:r>
            <a:r>
              <a:rPr lang="en-US" altLang="de-DE" sz="2000" dirty="0">
                <a:solidFill>
                  <a:srgbClr val="FF0000"/>
                </a:solidFill>
              </a:rPr>
              <a:t>D</a:t>
            </a:r>
            <a:r>
              <a:rPr lang="en-US" altLang="de-DE" sz="2000" dirty="0"/>
              <a:t>angerous </a:t>
            </a:r>
            <a:r>
              <a:rPr lang="en-US" altLang="de-DE" sz="2000" dirty="0">
                <a:solidFill>
                  <a:srgbClr val="FF0000"/>
                </a:solidFill>
              </a:rPr>
              <a:t>G</a:t>
            </a:r>
            <a:r>
              <a:rPr lang="en-US" altLang="de-DE" sz="2000" dirty="0"/>
              <a:t>oods (HCDG) have the potential for misuse in a terrorist event and may produce serious consequences such as casualties or mass destructi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78E2A04-4B6A-48C8-870E-CC801B255E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8906" y="1065960"/>
            <a:ext cx="4725270" cy="2444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12215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271526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outdoor&#10;&#10;Description automatically generated">
            <a:extLst>
              <a:ext uri="{FF2B5EF4-FFF2-40B4-BE49-F238E27FC236}">
                <a16:creationId xmlns:a16="http://schemas.microsoft.com/office/drawing/2014/main" id="{79AAEEA8-F745-43E2-88B7-2FF518565C1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4923" y="3644234"/>
            <a:ext cx="2022154" cy="26962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A53F64-9A5B-4C10-A48A-8A2F2A87CA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9A53F64-9A5B-4C10-A48A-8A2F2A87C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82B619C-38F8-4772-83FA-33EF7D13A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9" y="468000"/>
            <a:ext cx="7985887" cy="443198"/>
          </a:xfrm>
        </p:spPr>
        <p:txBody>
          <a:bodyPr/>
          <a:lstStyle/>
          <a:p>
            <a:r>
              <a:rPr lang="en-US"/>
              <a:t>1. Why is Transport Safety important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3AB280-8787-47A3-A885-366424D6B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4DA2519-F205-449A-8482-E35B95DB88A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38495" y="3981261"/>
            <a:ext cx="2696203" cy="202215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0AC439E-DCFF-4DFA-B4F7-56BE4D1D56E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2212" y="3644235"/>
            <a:ext cx="2022154" cy="269620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3" name="Picture 3">
            <a:extLst>
              <a:ext uri="{FF2B5EF4-FFF2-40B4-BE49-F238E27FC236}">
                <a16:creationId xmlns:a16="http://schemas.microsoft.com/office/drawing/2014/main" id="{C855A6C2-CDA7-4B4C-AD4F-64E6FE8020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63508" y="1157943"/>
            <a:ext cx="3007649" cy="228157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B437038-81DF-4320-B016-789D78E30BB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67472" y="1165317"/>
            <a:ext cx="3322298" cy="228157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C28906D-46DF-4CB4-AF06-9D2A2777036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64631" y="1157942"/>
            <a:ext cx="2202562" cy="228157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78800BC3-309B-4965-8430-3AA4FEF7F8A1}"/>
              </a:ext>
            </a:extLst>
          </p:cNvPr>
          <p:cNvSpPr/>
          <p:nvPr/>
        </p:nvSpPr>
        <p:spPr bwMode="auto">
          <a:xfrm rot="20819015">
            <a:off x="4726344" y="3357384"/>
            <a:ext cx="2198043" cy="649815"/>
          </a:xfrm>
          <a:prstGeom prst="roundRect">
            <a:avLst/>
          </a:prstGeom>
          <a:solidFill>
            <a:schemeClr val="bg1"/>
          </a:solidFill>
          <a:ln w="69850" cap="flat" cmpd="dbl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>
                <a:ln>
                  <a:noFill/>
                </a:ln>
                <a:solidFill>
                  <a:srgbClr val="FF0000"/>
                </a:solidFill>
                <a:effectLst/>
                <a:latin typeface="Fira Sans" panose="020B0503050000020004" pitchFamily="34" charset="0"/>
                <a:ea typeface="Fira Sans" panose="020B0503050000020004" pitchFamily="34" charset="0"/>
              </a:rPr>
              <a:t>DSM pictures!!!</a:t>
            </a:r>
            <a:endParaRPr kumimoji="0" lang="nl-NL" sz="2000" b="1" i="0" u="none" strike="noStrike" cap="none" normalizeH="0" baseline="0">
              <a:ln>
                <a:noFill/>
              </a:ln>
              <a:solidFill>
                <a:srgbClr val="FF0000"/>
              </a:solidFill>
              <a:effectLst/>
              <a:latin typeface="Fira Sans" panose="020B0503050000020004" pitchFamily="34" charset="0"/>
              <a:ea typeface="Fira Sans" panose="020B05030500000200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0A90B46-31C1-4534-BB41-23630140D845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37633" y="3630774"/>
            <a:ext cx="3007649" cy="27096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769986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680B965-9F51-4211-BDCC-8ABCAC4F65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5166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9" imgH="429" progId="TCLayout.ActiveDocument.1">
                  <p:embed/>
                </p:oleObj>
              </mc:Choice>
              <mc:Fallback>
                <p:oleObj name="think-cell Slide" r:id="rId3" imgW="429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680B965-9F51-4211-BDCC-8ABCAC4F6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02DD65D-8EAA-4496-9EAB-EAB6E6FBBC6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357300" cy="4039567"/>
          </a:xfrm>
        </p:spPr>
        <p:txBody>
          <a:bodyPr/>
          <a:lstStyle/>
          <a:p>
            <a:r>
              <a:rPr lang="en-US" kern="0" dirty="0">
                <a:latin typeface="Fira Sans" panose="020B0503050000020004" pitchFamily="34" charset="0"/>
                <a:ea typeface="Fira Sans" panose="020B0503050000020004" pitchFamily="34" charset="0"/>
              </a:rPr>
              <a:t>Safer operations for both supplier, carrier, DSM including contractors and ultimately our customers</a:t>
            </a:r>
          </a:p>
          <a:p>
            <a:endParaRPr lang="en-US" kern="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r>
              <a:rPr lang="en-US" kern="0" dirty="0">
                <a:latin typeface="Fira Sans" panose="020B0503050000020004" pitchFamily="34" charset="0"/>
                <a:ea typeface="Fira Sans" panose="020B0503050000020004" pitchFamily="34" charset="0"/>
              </a:rPr>
              <a:t>Smooth operations</a:t>
            </a:r>
          </a:p>
          <a:p>
            <a:endParaRPr lang="en-US" kern="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r>
              <a:rPr lang="en-US" kern="0" dirty="0">
                <a:latin typeface="Fira Sans" panose="020B0503050000020004" pitchFamily="34" charset="0"/>
                <a:ea typeface="Fira Sans" panose="020B0503050000020004" pitchFamily="34" charset="0"/>
              </a:rPr>
              <a:t>Less disruptions in supply chain 	</a:t>
            </a:r>
          </a:p>
          <a:p>
            <a:pPr marL="286163" lvl="1" indent="0">
              <a:buNone/>
            </a:pPr>
            <a:r>
              <a:rPr lang="en-US" kern="0" dirty="0">
                <a:latin typeface="Fira Sans" panose="020B0503050000020004" pitchFamily="34" charset="0"/>
                <a:ea typeface="Fira Sans" panose="020B0503050000020004" pitchFamily="34" charset="0"/>
              </a:rPr>
              <a:t>(e.g. no re-packing, damage &amp; spill prevention)</a:t>
            </a:r>
          </a:p>
          <a:p>
            <a:endParaRPr lang="en-US" kern="0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r>
              <a:rPr lang="en-US" kern="0" dirty="0">
                <a:latin typeface="Fira Sans" panose="020B0503050000020004" pitchFamily="34" charset="0"/>
                <a:ea typeface="Fira Sans" panose="020B0503050000020004" pitchFamily="34" charset="0"/>
              </a:rPr>
              <a:t>Preventing incidents, complaints, claims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32266D-54EA-4201-AC1E-54C8E7FEA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5524483" cy="886397"/>
          </a:xfrm>
        </p:spPr>
        <p:txBody>
          <a:bodyPr/>
          <a:lstStyle/>
          <a:p>
            <a:r>
              <a:rPr lang="en-US" dirty="0"/>
              <a:t>&amp; What’s in it for you as supplier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8A0074-5DD9-468B-8128-77DBC6D0A0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73B03C2A-8DAD-49C6-838B-4F36F61E3FB2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rcRect/>
          <a:stretch>
            <a:fillRect/>
          </a:stretch>
        </p:blipFill>
        <p:spPr/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3ADB86E-8687-438A-A552-708B681C16F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73761" y="499621"/>
            <a:ext cx="3510372" cy="1709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8156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1A240E-894C-4F08-A5D9-CC628572EB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1A240E-894C-4F08-A5D9-CC628572E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8E6EF11-4244-4FD6-B99F-A29DCC361A3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err="1">
              <a:solidFill>
                <a:schemeClr val="tx1"/>
              </a:solidFill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5BEA8FA2-1731-48DC-9770-54523A71E8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000" y="1326934"/>
            <a:ext cx="9144000" cy="369332"/>
          </a:xfrm>
        </p:spPr>
        <p:txBody>
          <a:bodyPr/>
          <a:lstStyle/>
          <a:p>
            <a:r>
              <a:rPr lang="en-US" dirty="0">
                <a:latin typeface="Fira Sans" panose="020B0503050000020004" pitchFamily="34" charset="0"/>
                <a:ea typeface="Fira Sans" panose="020B0503050000020004" pitchFamily="34" charset="0"/>
              </a:rPr>
              <a:t>DSM Transport Safety Requiremen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2D7C88-9F8E-4607-B42E-A0DBD503029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2. DSM Life Saving Ru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824DFE-2210-433E-B845-BD8E2BBB5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9" name="Picture 154">
            <a:extLst>
              <a:ext uri="{FF2B5EF4-FFF2-40B4-BE49-F238E27FC236}">
                <a16:creationId xmlns:a16="http://schemas.microsoft.com/office/drawing/2014/main" id="{B1C4BEA4-87E0-4AE5-8258-DA1A71CF33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56606" y="464830"/>
            <a:ext cx="1308660" cy="1308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46693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9A53F64-9A5B-4C10-A48A-8A2F2A87CA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9" imgH="429" progId="TCLayout.ActiveDocument.1">
                  <p:embed/>
                </p:oleObj>
              </mc:Choice>
              <mc:Fallback>
                <p:oleObj name="think-cell Slide" r:id="rId3" imgW="429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9A53F64-9A5B-4C10-A48A-8A2F2A87C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D82B619C-38F8-4772-83FA-33EF7D13A1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99" y="468000"/>
            <a:ext cx="7985887" cy="443198"/>
          </a:xfrm>
        </p:spPr>
        <p:txBody>
          <a:bodyPr/>
          <a:lstStyle/>
          <a:p>
            <a:r>
              <a:rPr lang="en-US"/>
              <a:t>2. DSM Life Saving Rul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3AB280-8787-47A3-A885-366424D6B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E01B22A-EAD5-46B8-8A39-26D785517741}"/>
              </a:ext>
            </a:extLst>
          </p:cNvPr>
          <p:cNvSpPr txBox="1">
            <a:spLocks/>
          </p:cNvSpPr>
          <p:nvPr/>
        </p:nvSpPr>
        <p:spPr>
          <a:xfrm>
            <a:off x="468000" y="936876"/>
            <a:ext cx="5158947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1" kern="1200">
                <a:solidFill>
                  <a:srgbClr val="00A3DB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SM Transport Safety Requirement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126F0E5-484B-4869-B73C-BCC3DD16FE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86561" y="1689862"/>
            <a:ext cx="4226190" cy="4239522"/>
          </a:xfrm>
          <a:prstGeom prst="rect">
            <a:avLst/>
          </a:prstGeom>
        </p:spPr>
      </p:pic>
      <p:sp>
        <p:nvSpPr>
          <p:cNvPr id="19" name="Speech Bubble: Oval 18">
            <a:extLst>
              <a:ext uri="{FF2B5EF4-FFF2-40B4-BE49-F238E27FC236}">
                <a16:creationId xmlns:a16="http://schemas.microsoft.com/office/drawing/2014/main" id="{AD7E2D57-43E5-44E0-B214-928A2AAF48AB}"/>
              </a:ext>
            </a:extLst>
          </p:cNvPr>
          <p:cNvSpPr/>
          <p:nvPr/>
        </p:nvSpPr>
        <p:spPr>
          <a:xfrm>
            <a:off x="2907926" y="3406870"/>
            <a:ext cx="830187" cy="816832"/>
          </a:xfrm>
          <a:prstGeom prst="wedgeEllipseCallout">
            <a:avLst>
              <a:gd name="adj1" fmla="val -96630"/>
              <a:gd name="adj2" fmla="val -3012"/>
            </a:avLst>
          </a:prstGeom>
          <a:noFill/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l-NL" err="1">
              <a:solidFill>
                <a:schemeClr val="tx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718BD039-972D-4EDB-8486-E2E0029A144B}"/>
              </a:ext>
            </a:extLst>
          </p:cNvPr>
          <p:cNvSpPr/>
          <p:nvPr/>
        </p:nvSpPr>
        <p:spPr>
          <a:xfrm>
            <a:off x="541302" y="3058828"/>
            <a:ext cx="1831847" cy="1443903"/>
          </a:xfrm>
          <a:prstGeom prst="roundRect">
            <a:avLst/>
          </a:prstGeom>
          <a:solidFill>
            <a:schemeClr val="accent2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bg1"/>
                </a:solidFill>
                <a:latin typeface="Fira Sans" panose="020B0503050000020004" pitchFamily="34" charset="0"/>
                <a:ea typeface="Fira Sans" panose="020B0503050000020004" pitchFamily="34" charset="0"/>
              </a:rPr>
              <a:t>Transport and Warehouse Safety</a:t>
            </a:r>
            <a:endParaRPr lang="nl-NL" b="1" err="1">
              <a:solidFill>
                <a:schemeClr val="bg1"/>
              </a:solidFill>
              <a:latin typeface="Fira Sans" panose="020B0503050000020004" pitchFamily="34" charset="0"/>
              <a:ea typeface="Fira Sans" panose="020B0503050000020004" pitchFamily="34" charset="0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F7C5161A-4F14-4734-B825-72630CC24D9A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828582">
            <a:off x="7670906" y="848314"/>
            <a:ext cx="3607716" cy="3477685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3FCF85E-D2BE-47A5-9633-2D262856EF4D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839527">
            <a:off x="8058494" y="2088820"/>
            <a:ext cx="3498694" cy="3438154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3" name="Oval 22">
            <a:extLst>
              <a:ext uri="{FF2B5EF4-FFF2-40B4-BE49-F238E27FC236}">
                <a16:creationId xmlns:a16="http://schemas.microsoft.com/office/drawing/2014/main" id="{B6D03197-EEFA-4ECF-9190-846B4D793F0D}"/>
              </a:ext>
            </a:extLst>
          </p:cNvPr>
          <p:cNvSpPr/>
          <p:nvPr/>
        </p:nvSpPr>
        <p:spPr bwMode="auto">
          <a:xfrm rot="811306">
            <a:off x="9054912" y="2336193"/>
            <a:ext cx="882732" cy="409154"/>
          </a:xfrm>
          <a:prstGeom prst="ellipse">
            <a:avLst/>
          </a:prstGeom>
          <a:noFill/>
          <a:ln w="825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  <p:sp>
        <p:nvSpPr>
          <p:cNvPr id="24" name="Arrow: Right 23">
            <a:extLst>
              <a:ext uri="{FF2B5EF4-FFF2-40B4-BE49-F238E27FC236}">
                <a16:creationId xmlns:a16="http://schemas.microsoft.com/office/drawing/2014/main" id="{C0867A39-7D52-4FFA-B17F-81360E8F462D}"/>
              </a:ext>
            </a:extLst>
          </p:cNvPr>
          <p:cNvSpPr/>
          <p:nvPr/>
        </p:nvSpPr>
        <p:spPr bwMode="auto">
          <a:xfrm rot="18905686">
            <a:off x="6913266" y="3225549"/>
            <a:ext cx="2684033" cy="822960"/>
          </a:xfrm>
          <a:prstGeom prst="rightArrow">
            <a:avLst/>
          </a:prstGeom>
          <a:solidFill>
            <a:srgbClr val="FF0000"/>
          </a:solidFill>
          <a:ln>
            <a:noFill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361797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680B965-9F51-4211-BDCC-8ABCAC4F653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9" imgH="429" progId="TCLayout.ActiveDocument.1">
                  <p:embed/>
                </p:oleObj>
              </mc:Choice>
              <mc:Fallback>
                <p:oleObj name="think-cell Slide" r:id="rId3" imgW="429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680B965-9F51-4211-BDCC-8ABCAC4F65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02DD65D-8EAA-4496-9EAB-EAB6E6FBBC6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2" y="1800225"/>
            <a:ext cx="6244215" cy="4308872"/>
          </a:xfrm>
        </p:spPr>
        <p:txBody>
          <a:bodyPr/>
          <a:lstStyle/>
          <a:p>
            <a:pPr marL="0" indent="0">
              <a:buNone/>
            </a:pPr>
            <a:r>
              <a:rPr lang="en-US" dirty="0">
                <a:latin typeface="Fira Sans" panose="020B0503050000020004" pitchFamily="34" charset="0"/>
                <a:ea typeface="Fira Sans" panose="020B0503050000020004" pitchFamily="34" charset="0"/>
              </a:rPr>
              <a:t>Multi-language ‘DSM Transport Safety Requirements’ defined as annex to supplier agreements, includes key elements of Life Saving Rules on Transport Safety:</a:t>
            </a:r>
          </a:p>
          <a:p>
            <a:endParaRPr lang="en-US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pPr marL="285750" indent="-285750"/>
            <a:r>
              <a:rPr lang="en-US" b="1" dirty="0">
                <a:latin typeface="Fira Sans" panose="020B0503050000020004" pitchFamily="34" charset="0"/>
                <a:ea typeface="Fira Sans" panose="020B0503050000020004" pitchFamily="34" charset="0"/>
              </a:rPr>
              <a:t>Ensure stability of shipping unit</a:t>
            </a:r>
          </a:p>
          <a:p>
            <a:pPr marL="285750" indent="-285750"/>
            <a:endParaRPr lang="en-US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pPr marL="285750" indent="-285750"/>
            <a:r>
              <a:rPr lang="en-US" b="1" dirty="0">
                <a:latin typeface="Fira Sans" panose="020B0503050000020004" pitchFamily="34" charset="0"/>
                <a:ea typeface="Fira Sans" panose="020B0503050000020004" pitchFamily="34" charset="0"/>
              </a:rPr>
              <a:t>Apply load securing against unwanted movements</a:t>
            </a:r>
          </a:p>
          <a:p>
            <a:pPr marL="285750" indent="-285750"/>
            <a:endParaRPr lang="en-US" b="1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pPr marL="285750" indent="-285750"/>
            <a:r>
              <a:rPr lang="en-US" b="1" dirty="0">
                <a:latin typeface="Fira Sans" panose="020B0503050000020004" pitchFamily="34" charset="0"/>
                <a:ea typeface="Fira Sans" panose="020B0503050000020004" pitchFamily="34" charset="0"/>
              </a:rPr>
              <a:t>Keep people out of the hazard zone when opening containers or trucks</a:t>
            </a:r>
          </a:p>
          <a:p>
            <a:pPr marL="285750" indent="-285750"/>
            <a:endParaRPr lang="en-US" b="1" dirty="0">
              <a:latin typeface="Fira Sans" panose="020B0503050000020004" pitchFamily="34" charset="0"/>
              <a:ea typeface="Fira Sans" panose="020B0503050000020004" pitchFamily="34" charset="0"/>
            </a:endParaRPr>
          </a:p>
          <a:p>
            <a:pPr marL="285750" indent="-285750"/>
            <a:r>
              <a:rPr lang="en-US" b="1" dirty="0">
                <a:latin typeface="Fira Sans" panose="020B0503050000020004" pitchFamily="34" charset="0"/>
                <a:ea typeface="Fira Sans" panose="020B0503050000020004" pitchFamily="34" charset="0"/>
              </a:rPr>
              <a:t>Safety towards truck drivers entering a DSM site to deliver or pickup packaged or bulk good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232266D-54EA-4201-AC1E-54C8E7FEA2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2. DSM Life Saving Ru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03D9379-D3EC-4EBF-BD55-C16156534A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DSM Transport Safety Requiremen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8A0074-5DD9-468B-8128-77DBC6D0A0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smtClean="0"/>
              <a:pPr/>
              <a:t>8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76FA131-9645-487D-B62A-9F7B5FA782F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53774">
            <a:off x="7240252" y="733928"/>
            <a:ext cx="3740886" cy="5263988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417325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21A240E-894C-4F08-A5D9-CC628572EB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8146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9" imgH="429" progId="TCLayout.ActiveDocument.1">
                  <p:embed/>
                </p:oleObj>
              </mc:Choice>
              <mc:Fallback>
                <p:oleObj name="think-cell Slide" r:id="rId4" imgW="429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21A240E-894C-4F08-A5D9-CC628572E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8E6EF11-4244-4FD6-B99F-A29DCC361A3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4400" err="1">
              <a:solidFill>
                <a:schemeClr val="tx1"/>
              </a:solidFill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82D7C88-9F8E-4607-B42E-A0DBD50302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0000" y="540000"/>
            <a:ext cx="9144000" cy="609398"/>
          </a:xfrm>
        </p:spPr>
        <p:txBody>
          <a:bodyPr/>
          <a:lstStyle/>
          <a:p>
            <a:r>
              <a:rPr lang="en-US"/>
              <a:t>3. Load Secur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824DFE-2210-433E-B845-BD8E2BBB5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118D48E-C7CB-6244-969D-7BAEA9B6226C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9" name="Picture 154">
            <a:extLst>
              <a:ext uri="{FF2B5EF4-FFF2-40B4-BE49-F238E27FC236}">
                <a16:creationId xmlns:a16="http://schemas.microsoft.com/office/drawing/2014/main" id="{B1C4BEA4-87E0-4AE5-8258-DA1A71CF33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56606" y="464830"/>
            <a:ext cx="1308660" cy="1308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95094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0gPcbdwgR7jIjMdxVMN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7CLectB8yfrHFFcKx_D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eBB26QYMC0sZauR98QV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_dMkZbQyvTBkL1opT4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eBB26QYMC0sZauR98QV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eBB26QYMC0sZauR98QV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eBB26QYMC0sZauR98QV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eBB26QYMC0sZauR98Q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heme/theme1.xml><?xml version="1.0" encoding="utf-8"?>
<a:theme xmlns:a="http://schemas.openxmlformats.org/drawingml/2006/main" name="DSM / Blue">
  <a:themeElements>
    <a:clrScheme name="DSM blue">
      <a:dk1>
        <a:srgbClr val="000000"/>
      </a:dk1>
      <a:lt1>
        <a:srgbClr val="FFFFFF"/>
      </a:lt1>
      <a:dk2>
        <a:srgbClr val="003478"/>
      </a:dk2>
      <a:lt2>
        <a:srgbClr val="FFFFFF"/>
      </a:lt2>
      <a:accent1>
        <a:srgbClr val="83D0F5"/>
      </a:accent1>
      <a:accent2>
        <a:srgbClr val="009FE3"/>
      </a:accent2>
      <a:accent3>
        <a:srgbClr val="0070BA"/>
      </a:accent3>
      <a:accent4>
        <a:srgbClr val="003478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blue_Fira_Sans_RV.potx" id="{6F31FA1A-EF7B-47B8-AD48-896D052367E4}" vid="{0F4264D6-318A-4BD7-9D3A-FC5BDE97D4D7}"/>
    </a:ext>
  </a:extLst>
</a:theme>
</file>

<file path=ppt/theme/theme2.xml><?xml version="1.0" encoding="utf-8"?>
<a:theme xmlns:a="http://schemas.openxmlformats.org/drawingml/2006/main" name="DSM / Blue">
  <a:themeElements>
    <a:clrScheme name="DSM blue">
      <a:dk1>
        <a:srgbClr val="000000"/>
      </a:dk1>
      <a:lt1>
        <a:srgbClr val="FFFFFF"/>
      </a:lt1>
      <a:dk2>
        <a:srgbClr val="003478"/>
      </a:dk2>
      <a:lt2>
        <a:srgbClr val="FFFFFF"/>
      </a:lt2>
      <a:accent1>
        <a:srgbClr val="83D0F5"/>
      </a:accent1>
      <a:accent2>
        <a:srgbClr val="009FE3"/>
      </a:accent2>
      <a:accent3>
        <a:srgbClr val="0070BA"/>
      </a:accent3>
      <a:accent4>
        <a:srgbClr val="003478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multicolor_fira-sans_v2" id="{21383FF0-FA68-491D-A832-485E2B097C05}" vid="{5331AAF8-6C63-4DB7-9158-B7053F636677}"/>
    </a:ext>
  </a:extLst>
</a:theme>
</file>

<file path=ppt/theme/theme3.xml><?xml version="1.0" encoding="utf-8"?>
<a:theme xmlns:a="http://schemas.openxmlformats.org/drawingml/2006/main" name="DSM / Multi color">
  <a:themeElements>
    <a:clrScheme name="DSM blue">
      <a:dk1>
        <a:srgbClr val="000000"/>
      </a:dk1>
      <a:lt1>
        <a:srgbClr val="FFFFFF"/>
      </a:lt1>
      <a:dk2>
        <a:srgbClr val="003478"/>
      </a:dk2>
      <a:lt2>
        <a:srgbClr val="FFFFFF"/>
      </a:lt2>
      <a:accent1>
        <a:srgbClr val="83D0F5"/>
      </a:accent1>
      <a:accent2>
        <a:srgbClr val="009FE3"/>
      </a:accent2>
      <a:accent3>
        <a:srgbClr val="0070BA"/>
      </a:accent3>
      <a:accent4>
        <a:srgbClr val="003478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multicolor_fira-sans_v2" id="{21383FF0-FA68-491D-A832-485E2B097C05}" vid="{B94E2010-4FAC-41B9-883A-38138D36507F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1e82cb03-88f0-48bb-a65d-3e95f13147ee" ContentTypeId="0x01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E9A16B69CDEF14E8F8F6B580F955CD8" ma:contentTypeVersion="13" ma:contentTypeDescription="Create a new document." ma:contentTypeScope="" ma:versionID="453ccb2171cd79afec1cc4115238afbe">
  <xsd:schema xmlns:xsd="http://www.w3.org/2001/XMLSchema" xmlns:xs="http://www.w3.org/2001/XMLSchema" xmlns:p="http://schemas.microsoft.com/office/2006/metadata/properties" xmlns:ns2="5a2251cd-bd5e-462d-8f0e-b8d48ef43808" xmlns:ns3="00aa0941-2ad6-4dea-8aaf-fd1cdef6b2bd" xmlns:ns4="cb11e676-52cf-4243-9831-54c34e52b9cc" targetNamespace="http://schemas.microsoft.com/office/2006/metadata/properties" ma:root="true" ma:fieldsID="30cdcf236126b9946c3401605a643e6f" ns2:_="" ns3:_="" ns4:_="">
    <xsd:import namespace="5a2251cd-bd5e-462d-8f0e-b8d48ef43808"/>
    <xsd:import namespace="00aa0941-2ad6-4dea-8aaf-fd1cdef6b2bd"/>
    <xsd:import namespace="cb11e676-52cf-4243-9831-54c34e52b9cc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DSMClassification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LengthInSeconds" minOccurs="0"/>
                <xsd:element ref="ns3:lcf76f155ced4ddcb4097134ff3c332f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4:SharedWithUsers" minOccurs="0"/>
                <xsd:element ref="ns4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2251cd-bd5e-462d-8f0e-b8d48ef43808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fdc17534-b61f-4604-9089-0edb9fef20cb}" ma:internalName="TaxCatchAll" ma:showField="CatchAllData" ma:web="cb11e676-52cf-4243-9831-54c34e52b9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fdc17534-b61f-4604-9089-0edb9fef20cb}" ma:internalName="TaxCatchAllLabel" ma:readOnly="true" ma:showField="CatchAllDataLabel" ma:web="cb11e676-52cf-4243-9831-54c34e52b9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DSMClassification" ma:index="10" nillable="true" ma:displayName="DSMClassification" ma:format="Dropdown" ma:internalName="DSMClassification">
      <xsd:simpleType>
        <xsd:restriction base="dms:Choice">
          <xsd:enumeration value="CONFIDENTIAL"/>
          <xsd:enumeration value="CLASSIFIED PERSONNEL INFORMATION"/>
          <xsd:enumeration value="FOR INTERNAL USE ONLY"/>
          <xsd:enumeration value="PUBLIC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aa0941-2ad6-4dea-8aaf-fd1cdef6b2b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1e82cb03-88f0-48bb-a65d-3e95f13147e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11e676-52cf-4243-9831-54c34e52b9cc" elementFormDefault="qualified">
    <xsd:import namespace="http://schemas.microsoft.com/office/2006/documentManagement/types"/>
    <xsd:import namespace="http://schemas.microsoft.com/office/infopath/2007/PartnerControls"/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a2251cd-bd5e-462d-8f0e-b8d48ef43808" xsi:nil="true"/>
    <DSMClassification xmlns="5a2251cd-bd5e-462d-8f0e-b8d48ef43808" xsi:nil="true"/>
    <lcf76f155ced4ddcb4097134ff3c332f xmlns="00aa0941-2ad6-4dea-8aaf-fd1cdef6b2bd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2B89C04C-B567-463A-9915-47FAF203A86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79AE7AF-6B12-4FE3-980E-2155CA8FB382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CBFDE0CA-4E7D-4A34-9EED-9C970E18F8B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2251cd-bd5e-462d-8f0e-b8d48ef43808"/>
    <ds:schemaRef ds:uri="00aa0941-2ad6-4dea-8aaf-fd1cdef6b2bd"/>
    <ds:schemaRef ds:uri="cb11e676-52cf-4243-9831-54c34e52b9c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7F7B9160-792D-4CBB-99B0-DDEC2CBDD9BB}">
  <ds:schemaRefs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5e344b7c-1d14-4c55-9234-5ecc8552f506"/>
    <ds:schemaRef ds:uri="http://schemas.microsoft.com/office/2006/documentManagement/types"/>
    <ds:schemaRef ds:uri="8eada512-a3c4-4dba-8071-794ef06f8c75"/>
    <ds:schemaRef ds:uri="5a2251cd-bd5e-462d-8f0e-b8d48ef43808"/>
    <ds:schemaRef ds:uri="http://www.w3.org/XML/1998/namespace"/>
    <ds:schemaRef ds:uri="http://purl.org/dc/dcmitype/"/>
    <ds:schemaRef ds:uri="00aa0941-2ad6-4dea-8aaf-fd1cdef6b2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SM_PPT_blue</Template>
  <TotalTime>357</TotalTime>
  <Words>1880</Words>
  <Application>Microsoft Office PowerPoint</Application>
  <PresentationFormat>Breedbeeld</PresentationFormat>
  <Paragraphs>304</Paragraphs>
  <Slides>32</Slides>
  <Notes>7</Notes>
  <HiddenSlides>1</HiddenSlides>
  <MMClips>1</MMClips>
  <ScaleCrop>false</ScaleCrop>
  <HeadingPairs>
    <vt:vector size="4" baseType="variant">
      <vt:variant>
        <vt:lpstr>Thema</vt:lpstr>
      </vt:variant>
      <vt:variant>
        <vt:i4>3</vt:i4>
      </vt:variant>
      <vt:variant>
        <vt:lpstr>Diatitels</vt:lpstr>
      </vt:variant>
      <vt:variant>
        <vt:i4>32</vt:i4>
      </vt:variant>
    </vt:vector>
  </HeadingPairs>
  <TitlesOfParts>
    <vt:vector size="35" baseType="lpstr">
      <vt:lpstr>DSM / Blue</vt:lpstr>
      <vt:lpstr>DSM / Blue</vt:lpstr>
      <vt:lpstr>DSM / Multi color</vt:lpstr>
      <vt:lpstr>Transport Safety Awareness Training for Suppliers</vt:lpstr>
      <vt:lpstr>Transport Safety Awareness Training for Suppliers</vt:lpstr>
      <vt:lpstr>1. Why is Transport Safety important?</vt:lpstr>
      <vt:lpstr>1. Why is Transport Safety important?</vt:lpstr>
      <vt:lpstr>&amp; What’s in it for you as supplier?</vt:lpstr>
      <vt:lpstr>2. DSM Life Saving Rules</vt:lpstr>
      <vt:lpstr>2. DSM Life Saving Rules</vt:lpstr>
      <vt:lpstr>2. DSM Life Saving Rules</vt:lpstr>
      <vt:lpstr>3. Load Securing</vt:lpstr>
      <vt:lpstr>3. Load Securing</vt:lpstr>
      <vt:lpstr>3. Load Securing</vt:lpstr>
      <vt:lpstr>3. Load Securing</vt:lpstr>
      <vt:lpstr>3. Load Securing</vt:lpstr>
      <vt:lpstr>3. Load Securing</vt:lpstr>
      <vt:lpstr>3. Load Securing</vt:lpstr>
      <vt:lpstr>3. Load Securing</vt:lpstr>
      <vt:lpstr>3. Load Securing</vt:lpstr>
      <vt:lpstr>3. Load Securing</vt:lpstr>
      <vt:lpstr>3. Load Securing</vt:lpstr>
      <vt:lpstr>4. Safe loading &amp; unloading</vt:lpstr>
      <vt:lpstr>4. Safe loading &amp; unloading</vt:lpstr>
      <vt:lpstr>4. Safe loading &amp; unloading</vt:lpstr>
      <vt:lpstr>4. Safe loading &amp; unloading</vt:lpstr>
      <vt:lpstr>5. Dangerous Goods Transport</vt:lpstr>
      <vt:lpstr>Regulations</vt:lpstr>
      <vt:lpstr>Dangerous Goods Regulations</vt:lpstr>
      <vt:lpstr>Dangerous Goods Regulations </vt:lpstr>
      <vt:lpstr>Dangerous Goods Regulations</vt:lpstr>
      <vt:lpstr>Dangerous Goods Regulations</vt:lpstr>
      <vt:lpstr>Dangerous Goods Regulations</vt:lpstr>
      <vt:lpstr>Dangerous Goods Regulations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roduction of the template</dc:title>
  <dc:creator>Horsten, Roel</dc:creator>
  <cp:lastModifiedBy>Horsten, Roel</cp:lastModifiedBy>
  <cp:revision>6</cp:revision>
  <dcterms:created xsi:type="dcterms:W3CDTF">2021-01-12T07:48:52Z</dcterms:created>
  <dcterms:modified xsi:type="dcterms:W3CDTF">2023-03-08T13:54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E9A16B69CDEF14E8F8F6B580F955CD8</vt:lpwstr>
  </property>
  <property fmtid="{D5CDD505-2E9C-101B-9397-08002B2CF9AE}" pid="3" name="MSIP_Label_2ff753fd-faf2-4608-9b59-553f003adcdf_Enabled">
    <vt:lpwstr>true</vt:lpwstr>
  </property>
  <property fmtid="{D5CDD505-2E9C-101B-9397-08002B2CF9AE}" pid="4" name="MSIP_Label_2ff753fd-faf2-4608-9b59-553f003adcdf_SetDate">
    <vt:lpwstr>2022-10-27T12:22:42Z</vt:lpwstr>
  </property>
  <property fmtid="{D5CDD505-2E9C-101B-9397-08002B2CF9AE}" pid="5" name="MSIP_Label_2ff753fd-faf2-4608-9b59-553f003adcdf_Method">
    <vt:lpwstr>Privileged</vt:lpwstr>
  </property>
  <property fmtid="{D5CDD505-2E9C-101B-9397-08002B2CF9AE}" pid="6" name="MSIP_Label_2ff753fd-faf2-4608-9b59-553f003adcdf_Name">
    <vt:lpwstr>2ff753fd-faf2-4608-9b59-553f003adcdf</vt:lpwstr>
  </property>
  <property fmtid="{D5CDD505-2E9C-101B-9397-08002B2CF9AE}" pid="7" name="MSIP_Label_2ff753fd-faf2-4608-9b59-553f003adcdf_SiteId">
    <vt:lpwstr>49618402-6ea3-441d-957d-7df8773fee54</vt:lpwstr>
  </property>
  <property fmtid="{D5CDD505-2E9C-101B-9397-08002B2CF9AE}" pid="8" name="MSIP_Label_2ff753fd-faf2-4608-9b59-553f003adcdf_ActionId">
    <vt:lpwstr>bef230ce-e392-4b6b-8d63-30ca762b0526</vt:lpwstr>
  </property>
  <property fmtid="{D5CDD505-2E9C-101B-9397-08002B2CF9AE}" pid="9" name="MSIP_Label_2ff753fd-faf2-4608-9b59-553f003adcdf_ContentBits">
    <vt:lpwstr>0</vt:lpwstr>
  </property>
</Properties>
</file>